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2.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6.xml" ContentType="application/vnd.openxmlformats-officedocument.presentationml.notesSlide+xml"/>
  <Override PartName="/ppt/tags/tag69.xml" ContentType="application/vnd.openxmlformats-officedocument.presentationml.tags+xml"/>
  <Override PartName="/ppt/notesSlides/notesSlide1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8.xml" ContentType="application/vnd.openxmlformats-officedocument.presentationml.notesSlide+xml"/>
  <Override PartName="/ppt/tags/tag78.xml" ContentType="application/vnd.openxmlformats-officedocument.presentationml.tags+xml"/>
  <Override PartName="/ppt/notesSlides/notesSlide19.xml" ContentType="application/vnd.openxmlformats-officedocument.presentationml.notesSlide+xml"/>
  <Override PartName="/ppt/tags/tag7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1"/>
  </p:notesMasterIdLst>
  <p:handoutMasterIdLst>
    <p:handoutMasterId r:id="rId32"/>
  </p:handoutMasterIdLst>
  <p:sldIdLst>
    <p:sldId id="1222" r:id="rId5"/>
    <p:sldId id="2076137534" r:id="rId6"/>
    <p:sldId id="317" r:id="rId7"/>
    <p:sldId id="1223" r:id="rId8"/>
    <p:sldId id="2076137536" r:id="rId9"/>
    <p:sldId id="2076137508" r:id="rId10"/>
    <p:sldId id="1020" r:id="rId11"/>
    <p:sldId id="2076137537" r:id="rId12"/>
    <p:sldId id="2076137538" r:id="rId13"/>
    <p:sldId id="2147472125" r:id="rId14"/>
    <p:sldId id="2147472127" r:id="rId15"/>
    <p:sldId id="1236" r:id="rId16"/>
    <p:sldId id="2076137540" r:id="rId17"/>
    <p:sldId id="2076137515" r:id="rId18"/>
    <p:sldId id="2076137541" r:id="rId19"/>
    <p:sldId id="2076137542" r:id="rId20"/>
    <p:sldId id="2076137543" r:id="rId21"/>
    <p:sldId id="2076137545" r:id="rId22"/>
    <p:sldId id="2076137523" r:id="rId23"/>
    <p:sldId id="2076137524" r:id="rId24"/>
    <p:sldId id="2076137546" r:id="rId25"/>
    <p:sldId id="2076137547" r:id="rId26"/>
    <p:sldId id="1241" r:id="rId27"/>
    <p:sldId id="2076137531" r:id="rId28"/>
    <p:sldId id="1227" r:id="rId29"/>
    <p:sldId id="1248" r:id="rId30"/>
  </p:sldIdLst>
  <p:sldSz cx="12192000" cy="6858000"/>
  <p:notesSz cx="6742113" cy="9872663"/>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454" userDrawn="1">
          <p15:clr>
            <a:srgbClr val="A4A3A4"/>
          </p15:clr>
        </p15:guide>
        <p15:guide id="2" orient="horz" pos="218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063C07-97CA-4AF1-D734-E1A17C99B49E}" name="Shirin James" initials="SJ" userId="S::shirin@papabognergmbh22.onmicrosoft.com::6fe6d951-5124-4d7c-8a07-ec07aa361fd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3E"/>
    <a:srgbClr val="FFFFFF"/>
    <a:srgbClr val="000028"/>
    <a:srgbClr val="65CEFF"/>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821" y="72"/>
      </p:cViewPr>
      <p:guideLst>
        <p:guide pos="3454"/>
        <p:guide orient="horz" pos="2183"/>
      </p:guideLst>
    </p:cSldViewPr>
  </p:slideViewPr>
  <p:notesTextViewPr>
    <p:cViewPr>
      <p:scale>
        <a:sx n="3" d="2"/>
        <a:sy n="3" d="2"/>
      </p:scale>
      <p:origin x="0" y="0"/>
    </p:cViewPr>
  </p:notesTextViewPr>
  <p:sorterViewPr>
    <p:cViewPr>
      <p:scale>
        <a:sx n="100" d="100"/>
        <a:sy n="100" d="100"/>
      </p:scale>
      <p:origin x="0" y="-2108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665354330708664E-2"/>
          <c:y val="7.9230556149695125E-2"/>
          <c:w val="0.93314714566929136"/>
          <c:h val="0.83209310443692663"/>
        </c:manualLayout>
      </c:layout>
      <c:barChart>
        <c:barDir val="col"/>
        <c:grouping val="stacked"/>
        <c:varyColors val="0"/>
        <c:ser>
          <c:idx val="0"/>
          <c:order val="0"/>
          <c:tx>
            <c:strRef>
              <c:f>Tabelle1!$B$1</c:f>
              <c:strCache>
                <c:ptCount val="1"/>
                <c:pt idx="0">
                  <c:v>Diese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4</c:f>
              <c:numCache>
                <c:formatCode>General</c:formatCode>
                <c:ptCount val="3"/>
                <c:pt idx="0">
                  <c:v>2016</c:v>
                </c:pt>
                <c:pt idx="1">
                  <c:v>2025</c:v>
                </c:pt>
                <c:pt idx="2">
                  <c:v>2030</c:v>
                </c:pt>
              </c:numCache>
            </c:numRef>
          </c:cat>
          <c:val>
            <c:numRef>
              <c:f>Tabelle1!$B$2:$B$4</c:f>
              <c:numCache>
                <c:formatCode>General</c:formatCode>
                <c:ptCount val="3"/>
                <c:pt idx="0">
                  <c:v>100</c:v>
                </c:pt>
                <c:pt idx="1">
                  <c:v>93</c:v>
                </c:pt>
                <c:pt idx="2">
                  <c:v>30</c:v>
                </c:pt>
              </c:numCache>
            </c:numRef>
          </c:val>
          <c:extLst>
            <c:ext xmlns:c16="http://schemas.microsoft.com/office/drawing/2014/chart" uri="{C3380CC4-5D6E-409C-BE32-E72D297353CC}">
              <c16:uniqueId val="{00000000-7511-4061-8B26-000EF06B4074}"/>
            </c:ext>
          </c:extLst>
        </c:ser>
        <c:ser>
          <c:idx val="1"/>
          <c:order val="1"/>
          <c:tx>
            <c:strRef>
              <c:f>Tabelle1!$C$1</c:f>
              <c:strCache>
                <c:ptCount val="1"/>
                <c:pt idx="0">
                  <c:v>Zero emission vehicles</c:v>
                </c:pt>
              </c:strCache>
            </c:strRef>
          </c:tx>
          <c:spPr>
            <a:solidFill>
              <a:schemeClr val="accent2"/>
            </a:solidFill>
            <a:ln>
              <a:noFill/>
            </a:ln>
            <a:effectLst/>
          </c:spPr>
          <c:invertIfNegative val="0"/>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11-4061-8B26-000EF06B4074}"/>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11-4061-8B26-000EF06B4074}"/>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4</c:f>
              <c:numCache>
                <c:formatCode>General</c:formatCode>
                <c:ptCount val="3"/>
                <c:pt idx="0">
                  <c:v>2016</c:v>
                </c:pt>
                <c:pt idx="1">
                  <c:v>2025</c:v>
                </c:pt>
                <c:pt idx="2">
                  <c:v>2030</c:v>
                </c:pt>
              </c:numCache>
            </c:numRef>
          </c:cat>
          <c:val>
            <c:numRef>
              <c:f>Tabelle1!$C$2:$C$4</c:f>
              <c:numCache>
                <c:formatCode>General</c:formatCode>
                <c:ptCount val="3"/>
                <c:pt idx="0">
                  <c:v>0</c:v>
                </c:pt>
                <c:pt idx="1">
                  <c:v>7</c:v>
                </c:pt>
                <c:pt idx="2">
                  <c:v>70</c:v>
                </c:pt>
              </c:numCache>
            </c:numRef>
          </c:val>
          <c:extLst>
            <c:ext xmlns:c16="http://schemas.microsoft.com/office/drawing/2014/chart" uri="{C3380CC4-5D6E-409C-BE32-E72D297353CC}">
              <c16:uniqueId val="{00000001-7511-4061-8B26-000EF06B4074}"/>
            </c:ext>
          </c:extLst>
        </c:ser>
        <c:dLbls>
          <c:showLegendKey val="0"/>
          <c:showVal val="0"/>
          <c:showCatName val="0"/>
          <c:showSerName val="0"/>
          <c:showPercent val="0"/>
          <c:showBubbleSize val="0"/>
        </c:dLbls>
        <c:gapWidth val="219"/>
        <c:overlap val="100"/>
        <c:axId val="1890342272"/>
        <c:axId val="1890340960"/>
      </c:barChart>
      <c:catAx>
        <c:axId val="1890342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D9D9D9"/>
                </a:solidFill>
                <a:latin typeface="+mn-lt"/>
                <a:ea typeface="+mn-ea"/>
                <a:cs typeface="+mn-cs"/>
              </a:defRPr>
            </a:pPr>
            <a:endParaRPr lang="en-US"/>
          </a:p>
        </c:txPr>
        <c:crossAx val="1890340960"/>
        <c:crosses val="autoZero"/>
        <c:auto val="1"/>
        <c:lblAlgn val="ctr"/>
        <c:lblOffset val="100"/>
        <c:noMultiLvlLbl val="0"/>
      </c:catAx>
      <c:valAx>
        <c:axId val="1890340960"/>
        <c:scaling>
          <c:orientation val="minMax"/>
          <c:max val="100"/>
        </c:scaling>
        <c:delete val="0"/>
        <c:axPos val="l"/>
        <c:numFmt formatCode="General" sourceLinked="1"/>
        <c:majorTickMark val="none"/>
        <c:minorTickMark val="none"/>
        <c:tickLblPos val="nextTo"/>
        <c:spPr>
          <a:noFill/>
          <a:ln>
            <a:solidFill>
              <a:srgbClr val="CCCCD4"/>
            </a:solidFill>
          </a:ln>
          <a:effectLst/>
        </c:spPr>
        <c:txPr>
          <a:bodyPr rot="-60000000" spcFirstLastPara="1" vertOverflow="ellipsis" vert="horz" wrap="square" anchor="ctr" anchorCtr="1"/>
          <a:lstStyle/>
          <a:p>
            <a:pPr>
              <a:defRPr sz="1000" b="0" i="0" u="none" strike="noStrike" kern="1200" baseline="0">
                <a:solidFill>
                  <a:srgbClr val="D9D9D9"/>
                </a:solidFill>
                <a:latin typeface="+mn-lt"/>
                <a:ea typeface="+mn-ea"/>
                <a:cs typeface="+mn-cs"/>
              </a:defRPr>
            </a:pPr>
            <a:endParaRPr lang="en-US"/>
          </a:p>
        </c:txPr>
        <c:crossAx val="18903422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CCCCD4"/>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5875092588749"/>
          <c:y val="6.0003056582035912E-2"/>
          <c:w val="0.8574149663357078"/>
          <c:h val="0.78990185240315602"/>
        </c:manualLayout>
      </c:layout>
      <c:barChart>
        <c:barDir val="col"/>
        <c:grouping val="clustered"/>
        <c:varyColors val="0"/>
        <c:ser>
          <c:idx val="0"/>
          <c:order val="0"/>
          <c:tx>
            <c:strRef>
              <c:f>Tabelle1!$B$1</c:f>
              <c:strCache>
                <c:ptCount val="1"/>
                <c:pt idx="0">
                  <c:v>€2020/tco2</c:v>
                </c:pt>
              </c:strCache>
            </c:strRef>
          </c:tx>
          <c:spPr>
            <a:solidFill>
              <a:schemeClr val="accent1"/>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D9D9D9"/>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5C4F-43B2-9F12-1AE8912FCE1F}"/>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D9D9D9"/>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5C4F-43B2-9F12-1AE8912FCE1F}"/>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D9D9D9"/>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5C4F-43B2-9F12-1AE8912FCE1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rgbClr val="CCCCD4"/>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4</c:f>
              <c:strCache>
                <c:ptCount val="3"/>
                <c:pt idx="0">
                  <c:v>BEV-truck</c:v>
                </c:pt>
                <c:pt idx="1">
                  <c:v>FCEV-Fuel Cell truck</c:v>
                </c:pt>
                <c:pt idx="2">
                  <c:v>OCL</c:v>
                </c:pt>
              </c:strCache>
            </c:strRef>
          </c:cat>
          <c:val>
            <c:numRef>
              <c:f>Tabelle1!$B$2:$B$4</c:f>
              <c:numCache>
                <c:formatCode>General</c:formatCode>
                <c:ptCount val="3"/>
                <c:pt idx="0">
                  <c:v>443</c:v>
                </c:pt>
                <c:pt idx="1">
                  <c:v>1164</c:v>
                </c:pt>
                <c:pt idx="2">
                  <c:v>441</c:v>
                </c:pt>
              </c:numCache>
            </c:numRef>
          </c:val>
          <c:extLst>
            <c:ext xmlns:c16="http://schemas.microsoft.com/office/drawing/2014/chart" uri="{C3380CC4-5D6E-409C-BE32-E72D297353CC}">
              <c16:uniqueId val="{00000000-71BA-4EB2-9149-ACFABF2F697B}"/>
            </c:ext>
          </c:extLst>
        </c:ser>
        <c:dLbls>
          <c:showLegendKey val="0"/>
          <c:showVal val="0"/>
          <c:showCatName val="0"/>
          <c:showSerName val="0"/>
          <c:showPercent val="0"/>
          <c:showBubbleSize val="0"/>
        </c:dLbls>
        <c:gapWidth val="219"/>
        <c:overlap val="-27"/>
        <c:axId val="1642435144"/>
        <c:axId val="1642442688"/>
      </c:barChart>
      <c:catAx>
        <c:axId val="1642435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D9D9D9"/>
                </a:solidFill>
                <a:latin typeface="+mn-lt"/>
                <a:ea typeface="+mn-ea"/>
                <a:cs typeface="+mn-cs"/>
              </a:defRPr>
            </a:pPr>
            <a:endParaRPr lang="en-US"/>
          </a:p>
        </c:txPr>
        <c:crossAx val="1642442688"/>
        <c:crosses val="autoZero"/>
        <c:auto val="1"/>
        <c:lblAlgn val="ctr"/>
        <c:lblOffset val="100"/>
        <c:noMultiLvlLbl val="0"/>
      </c:catAx>
      <c:valAx>
        <c:axId val="1642442688"/>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bg1">
                        <a:lumMod val="95000"/>
                      </a:schemeClr>
                    </a:solidFill>
                    <a:latin typeface="+mn-lt"/>
                    <a:ea typeface="+mn-ea"/>
                    <a:cs typeface="+mn-cs"/>
                  </a:defRPr>
                </a:pPr>
                <a:r>
                  <a:rPr lang="en-US" sz="1400">
                    <a:solidFill>
                      <a:schemeClr val="bg1">
                        <a:lumMod val="95000"/>
                      </a:schemeClr>
                    </a:solidFill>
                  </a:rPr>
                  <a:t>€</a:t>
                </a:r>
                <a:r>
                  <a:rPr lang="en-US" sz="1400" baseline="-25000">
                    <a:solidFill>
                      <a:schemeClr val="bg1">
                        <a:lumMod val="95000"/>
                      </a:schemeClr>
                    </a:solidFill>
                  </a:rPr>
                  <a:t>2020</a:t>
                </a:r>
                <a:r>
                  <a:rPr lang="en-US" sz="1400">
                    <a:solidFill>
                      <a:schemeClr val="bg1">
                        <a:lumMod val="95000"/>
                      </a:schemeClr>
                    </a:solidFill>
                  </a:rPr>
                  <a:t>/tCO</a:t>
                </a:r>
                <a:r>
                  <a:rPr lang="en-US" sz="1400" baseline="-25000">
                    <a:solidFill>
                      <a:schemeClr val="bg1">
                        <a:lumMod val="95000"/>
                      </a:schemeClr>
                    </a:solidFill>
                  </a:rPr>
                  <a:t>2</a:t>
                </a:r>
              </a:p>
            </c:rich>
          </c:tx>
          <c:layout>
            <c:manualLayout>
              <c:xMode val="edge"/>
              <c:yMode val="edge"/>
              <c:x val="1.8114802489458824E-3"/>
              <c:y val="0.37290222464310485"/>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bg1">
                      <a:lumMod val="95000"/>
                    </a:schemeClr>
                  </a:solidFill>
                  <a:latin typeface="+mn-lt"/>
                  <a:ea typeface="+mn-ea"/>
                  <a:cs typeface="+mn-cs"/>
                </a:defRPr>
              </a:pPr>
              <a:endParaRPr lang="en-US"/>
            </a:p>
          </c:txPr>
        </c:title>
        <c:numFmt formatCode="#,##0" sourceLinked="0"/>
        <c:majorTickMark val="none"/>
        <c:minorTickMark val="none"/>
        <c:tickLblPos val="nextTo"/>
        <c:spPr>
          <a:noFill/>
          <a:ln>
            <a:solidFill>
              <a:srgbClr val="CCCCD4"/>
            </a:solidFill>
          </a:ln>
          <a:effectLst/>
        </c:spPr>
        <c:txPr>
          <a:bodyPr rot="-60000000" spcFirstLastPara="1" vertOverflow="ellipsis" vert="horz" wrap="square" anchor="ctr" anchorCtr="1"/>
          <a:lstStyle/>
          <a:p>
            <a:pPr>
              <a:defRPr sz="1197" b="0" i="0" u="none" strike="noStrike" kern="1200" baseline="0">
                <a:solidFill>
                  <a:srgbClr val="D9D9D9"/>
                </a:solidFill>
                <a:latin typeface="+mn-lt"/>
                <a:ea typeface="+mn-ea"/>
                <a:cs typeface="+mn-cs"/>
              </a:defRPr>
            </a:pPr>
            <a:endParaRPr lang="en-US"/>
          </a:p>
        </c:txPr>
        <c:crossAx val="1642435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289470" cy="388688"/>
          </a:xfrm>
          <a:prstGeom prst="rect">
            <a:avLst/>
          </a:prstGeom>
        </p:spPr>
        <p:txBody>
          <a:bodyPr vert="horz" lIns="91440" tIns="45720" rIns="91440" bIns="45720" rtlCol="0"/>
          <a:lstStyle>
            <a:lvl1pPr algn="l">
              <a:defRPr sz="1200"/>
            </a:lvl1pPr>
          </a:lstStyle>
          <a:p>
            <a:endParaRPr lang="en-US" sz="1050" b="1"/>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00843" y="0"/>
            <a:ext cx="1741270" cy="388688"/>
          </a:xfrm>
          <a:prstGeom prst="rect">
            <a:avLst/>
          </a:prstGeom>
        </p:spPr>
        <p:txBody>
          <a:bodyPr vert="horz" lIns="91440" tIns="45720" rIns="91440" bIns="45720" rtlCol="0"/>
          <a:lstStyle>
            <a:lvl1pPr algn="r">
              <a:defRPr sz="1200"/>
            </a:lvl1pPr>
          </a:lstStyle>
          <a:p>
            <a:fld id="{FEF1F2B9-B350-4061-A6D1-2A3340A8623F}" type="datetimeFigureOut">
              <a:rPr lang="en-US" sz="1050" smtClean="0"/>
              <a:t>11/11/2022</a:t>
            </a:fld>
            <a:endParaRPr lang="en-US" sz="105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9483975"/>
            <a:ext cx="4289470" cy="388688"/>
          </a:xfrm>
          <a:prstGeom prst="rect">
            <a:avLst/>
          </a:prstGeom>
        </p:spPr>
        <p:txBody>
          <a:bodyPr vert="horz" lIns="91440" tIns="45720" rIns="91440" bIns="45720" rtlCol="0" anchor="b"/>
          <a:lstStyle>
            <a:lvl1pPr algn="l">
              <a:defRPr sz="1200"/>
            </a:lvl1pPr>
          </a:lstStyle>
          <a:p>
            <a:endParaRPr lang="en-US" sz="105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00843" y="9483975"/>
            <a:ext cx="1741270" cy="388688"/>
          </a:xfrm>
          <a:prstGeom prst="rect">
            <a:avLst/>
          </a:prstGeom>
        </p:spPr>
        <p:txBody>
          <a:bodyPr vert="horz" lIns="91440" tIns="45720" rIns="91440" bIns="45720" rtlCol="0" anchor="b"/>
          <a:lstStyle>
            <a:lvl1pPr algn="r">
              <a:defRPr sz="1200"/>
            </a:lvl1pPr>
          </a:lstStyle>
          <a:p>
            <a:r>
              <a:rPr lang="en-US" sz="1050" b="1">
                <a:solidFill>
                  <a:schemeClr val="accent2"/>
                </a:solidFill>
              </a:rPr>
              <a:t>Hand out</a:t>
            </a:r>
            <a:r>
              <a:rPr lang="en-US" sz="1050">
                <a:solidFill>
                  <a:schemeClr val="accent2"/>
                </a:solidFill>
              </a:rPr>
              <a:t> </a:t>
            </a:r>
            <a:fld id="{C92BABF8-1341-4DCB-864A-D83C08BEEAE4}" type="slidenum">
              <a:rPr lang="en-US" sz="1050" smtClean="0"/>
              <a:t>‹Nr.›</a:t>
            </a:fld>
            <a:endParaRPr lang="en-US" sz="105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04790" y="594692"/>
            <a:ext cx="1132533" cy="197764"/>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289470" cy="388688"/>
          </a:xfrm>
          <a:prstGeom prst="rect">
            <a:avLst/>
          </a:prstGeom>
        </p:spPr>
        <p:txBody>
          <a:bodyPr vert="horz" lIns="91440" tIns="45720" rIns="91440" bIns="45720" rtlCol="0"/>
          <a:lstStyle>
            <a:lvl1pPr algn="l" rtl="0">
              <a:defRPr sz="1050" b="1"/>
            </a:lvl1pPr>
          </a:lstStyle>
          <a:p>
            <a:endParaRPr lang="en-US"/>
          </a:p>
        </p:txBody>
      </p:sp>
      <p:sp>
        <p:nvSpPr>
          <p:cNvPr id="3" name="Date"/>
          <p:cNvSpPr>
            <a:spLocks noGrp="1"/>
          </p:cNvSpPr>
          <p:nvPr>
            <p:ph type="dt" idx="1"/>
          </p:nvPr>
        </p:nvSpPr>
        <p:spPr>
          <a:xfrm>
            <a:off x="5000843" y="0"/>
            <a:ext cx="1741270" cy="388688"/>
          </a:xfrm>
          <a:prstGeom prst="rect">
            <a:avLst/>
          </a:prstGeom>
        </p:spPr>
        <p:txBody>
          <a:bodyPr vert="horz" lIns="91440" tIns="45720" rIns="91440" bIns="45720" rtlCol="0"/>
          <a:lstStyle>
            <a:lvl1pPr algn="r" rtl="0">
              <a:defRPr sz="1050"/>
            </a:lvl1pPr>
          </a:lstStyle>
          <a:p>
            <a:fld id="{76FBC1AF-E4C9-412F-9B6D-66CD520F95DB}" type="datetimeFigureOut">
              <a:rPr lang="en-US" smtClean="0"/>
              <a:pPr/>
              <a:t>11/11/2022</a:t>
            </a:fld>
            <a:endParaRPr lang="en-US"/>
          </a:p>
        </p:txBody>
      </p:sp>
      <p:sp>
        <p:nvSpPr>
          <p:cNvPr id="4" name="Slide Image Placeholder"/>
          <p:cNvSpPr>
            <a:spLocks noGrp="1" noRot="1" noChangeAspect="1"/>
          </p:cNvSpPr>
          <p:nvPr>
            <p:ph type="sldImg" idx="2"/>
          </p:nvPr>
        </p:nvSpPr>
        <p:spPr>
          <a:xfrm>
            <a:off x="107950" y="668338"/>
            <a:ext cx="6529388" cy="36734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p:cNvSpPr>
            <a:spLocks noGrp="1"/>
          </p:cNvSpPr>
          <p:nvPr>
            <p:ph type="body" sz="quarter" idx="3"/>
          </p:nvPr>
        </p:nvSpPr>
        <p:spPr>
          <a:xfrm>
            <a:off x="399926" y="4940218"/>
            <a:ext cx="5945800" cy="4275563"/>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Footer Placeholder"/>
          <p:cNvSpPr>
            <a:spLocks noGrp="1"/>
          </p:cNvSpPr>
          <p:nvPr>
            <p:ph type="ftr" sz="quarter" idx="4"/>
          </p:nvPr>
        </p:nvSpPr>
        <p:spPr>
          <a:xfrm>
            <a:off x="0" y="9483975"/>
            <a:ext cx="4289470" cy="388688"/>
          </a:xfrm>
          <a:prstGeom prst="rect">
            <a:avLst/>
          </a:prstGeom>
        </p:spPr>
        <p:txBody>
          <a:bodyPr vert="horz" lIns="91440" tIns="45720" rIns="91440" bIns="45720" rtlCol="0" anchor="b"/>
          <a:lstStyle>
            <a:lvl1pPr algn="l" rtl="0">
              <a:defRPr sz="1050"/>
            </a:lvl1pPr>
          </a:lstStyle>
          <a:p>
            <a:endParaRPr lang="en-US"/>
          </a:p>
        </p:txBody>
      </p:sp>
      <p:sp>
        <p:nvSpPr>
          <p:cNvPr id="7" name="Slide Number Placeholder"/>
          <p:cNvSpPr>
            <a:spLocks noGrp="1"/>
          </p:cNvSpPr>
          <p:nvPr>
            <p:ph type="sldNum" sz="quarter" idx="5"/>
          </p:nvPr>
        </p:nvSpPr>
        <p:spPr>
          <a:xfrm>
            <a:off x="5000843" y="9483975"/>
            <a:ext cx="1741270" cy="388688"/>
          </a:xfrm>
          <a:prstGeom prst="rect">
            <a:avLst/>
          </a:prstGeom>
        </p:spPr>
        <p:txBody>
          <a:bodyPr vert="horz" lIns="91440" tIns="45720" rIns="91440" bIns="45720" rtlCol="0" anchor="b"/>
          <a:lstStyle>
            <a:lvl1pPr algn="r" rtl="0">
              <a:defRPr sz="1050"/>
            </a:lvl1pPr>
          </a:lstStyle>
          <a:p>
            <a:r>
              <a:rPr lang="en-US" b="1">
                <a:solidFill>
                  <a:schemeClr val="accent2"/>
                </a:solidFill>
              </a:rPr>
              <a:t>Notes</a:t>
            </a:r>
            <a:r>
              <a:rPr lang="en-US"/>
              <a:t> </a:t>
            </a:r>
            <a:fld id="{E76C657F-0E32-4130-ADDA-66B81138A76A}" type="slidenum">
              <a:rPr lang="en-US" smtClean="0"/>
              <a:pPr/>
              <a:t>‹Nr.›</a:t>
            </a:fld>
            <a:endParaRPr lang="en-US"/>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a:t>
            </a:fld>
            <a:endParaRPr lang="en-US"/>
          </a:p>
        </p:txBody>
      </p:sp>
    </p:spTree>
    <p:extLst>
      <p:ext uri="{BB962C8B-B14F-4D97-AF65-F5344CB8AC3E}">
        <p14:creationId xmlns:p14="http://schemas.microsoft.com/office/powerpoint/2010/main" val="1214920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3</a:t>
            </a:fld>
            <a:endParaRPr lang="en-US"/>
          </a:p>
        </p:txBody>
      </p:sp>
    </p:spTree>
    <p:extLst>
      <p:ext uri="{BB962C8B-B14F-4D97-AF65-F5344CB8AC3E}">
        <p14:creationId xmlns:p14="http://schemas.microsoft.com/office/powerpoint/2010/main" val="2083456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5</a:t>
            </a:fld>
            <a:endParaRPr lang="en-US"/>
          </a:p>
        </p:txBody>
      </p:sp>
    </p:spTree>
    <p:extLst>
      <p:ext uri="{BB962C8B-B14F-4D97-AF65-F5344CB8AC3E}">
        <p14:creationId xmlns:p14="http://schemas.microsoft.com/office/powerpoint/2010/main" val="2715463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6</a:t>
            </a:fld>
            <a:endParaRPr lang="en-US"/>
          </a:p>
        </p:txBody>
      </p:sp>
    </p:spTree>
    <p:extLst>
      <p:ext uri="{BB962C8B-B14F-4D97-AF65-F5344CB8AC3E}">
        <p14:creationId xmlns:p14="http://schemas.microsoft.com/office/powerpoint/2010/main" val="1438489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7</a:t>
            </a:fld>
            <a:endParaRPr lang="en-US"/>
          </a:p>
        </p:txBody>
      </p:sp>
    </p:spTree>
    <p:extLst>
      <p:ext uri="{BB962C8B-B14F-4D97-AF65-F5344CB8AC3E}">
        <p14:creationId xmlns:p14="http://schemas.microsoft.com/office/powerpoint/2010/main" val="366523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8</a:t>
            </a:fld>
            <a:endParaRPr lang="en-US"/>
          </a:p>
        </p:txBody>
      </p:sp>
    </p:spTree>
    <p:extLst>
      <p:ext uri="{BB962C8B-B14F-4D97-AF65-F5344CB8AC3E}">
        <p14:creationId xmlns:p14="http://schemas.microsoft.com/office/powerpoint/2010/main" val="32448078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9</a:t>
            </a:fld>
            <a:endParaRPr lang="en-US"/>
          </a:p>
        </p:txBody>
      </p:sp>
    </p:spTree>
    <p:extLst>
      <p:ext uri="{BB962C8B-B14F-4D97-AF65-F5344CB8AC3E}">
        <p14:creationId xmlns:p14="http://schemas.microsoft.com/office/powerpoint/2010/main" val="42046029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0</a:t>
            </a:fld>
            <a:endParaRPr lang="en-US"/>
          </a:p>
        </p:txBody>
      </p:sp>
    </p:spTree>
    <p:extLst>
      <p:ext uri="{BB962C8B-B14F-4D97-AF65-F5344CB8AC3E}">
        <p14:creationId xmlns:p14="http://schemas.microsoft.com/office/powerpoint/2010/main" val="2487284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1</a:t>
            </a:fld>
            <a:endParaRPr lang="en-US"/>
          </a:p>
        </p:txBody>
      </p:sp>
    </p:spTree>
    <p:extLst>
      <p:ext uri="{BB962C8B-B14F-4D97-AF65-F5344CB8AC3E}">
        <p14:creationId xmlns:p14="http://schemas.microsoft.com/office/powerpoint/2010/main" val="1635681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r>
              <a:rPr lang="de-DE"/>
              <a:t>Image</a:t>
            </a:r>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3</a:t>
            </a:fld>
            <a:endParaRPr lang="en-US"/>
          </a:p>
        </p:txBody>
      </p:sp>
    </p:spTree>
    <p:extLst>
      <p:ext uri="{BB962C8B-B14F-4D97-AF65-F5344CB8AC3E}">
        <p14:creationId xmlns:p14="http://schemas.microsoft.com/office/powerpoint/2010/main" val="32610905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5</a:t>
            </a:fld>
            <a:endParaRPr lang="en-US"/>
          </a:p>
        </p:txBody>
      </p:sp>
    </p:spTree>
    <p:extLst>
      <p:ext uri="{BB962C8B-B14F-4D97-AF65-F5344CB8AC3E}">
        <p14:creationId xmlns:p14="http://schemas.microsoft.com/office/powerpoint/2010/main" val="3713750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2</a:t>
            </a:fld>
            <a:endParaRPr lang="en-US"/>
          </a:p>
        </p:txBody>
      </p:sp>
    </p:spTree>
    <p:extLst>
      <p:ext uri="{BB962C8B-B14F-4D97-AF65-F5344CB8AC3E}">
        <p14:creationId xmlns:p14="http://schemas.microsoft.com/office/powerpoint/2010/main" val="2807193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3</a:t>
            </a:fld>
            <a:endParaRPr lang="en-US"/>
          </a:p>
        </p:txBody>
      </p:sp>
    </p:spTree>
    <p:extLst>
      <p:ext uri="{BB962C8B-B14F-4D97-AF65-F5344CB8AC3E}">
        <p14:creationId xmlns:p14="http://schemas.microsoft.com/office/powerpoint/2010/main" val="2677096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4</a:t>
            </a:fld>
            <a:endParaRPr lang="en-US"/>
          </a:p>
        </p:txBody>
      </p:sp>
    </p:spTree>
    <p:extLst>
      <p:ext uri="{BB962C8B-B14F-4D97-AF65-F5344CB8AC3E}">
        <p14:creationId xmlns:p14="http://schemas.microsoft.com/office/powerpoint/2010/main" val="3749375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de-DE"/>
          </a:p>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5</a:t>
            </a:fld>
            <a:endParaRPr lang="en-US"/>
          </a:p>
        </p:txBody>
      </p:sp>
    </p:spTree>
    <p:extLst>
      <p:ext uri="{BB962C8B-B14F-4D97-AF65-F5344CB8AC3E}">
        <p14:creationId xmlns:p14="http://schemas.microsoft.com/office/powerpoint/2010/main" val="1942485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7150" y="798513"/>
            <a:ext cx="6840538" cy="3848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7</a:t>
            </a:fld>
            <a:endParaRPr lang="de-DE">
              <a:latin typeface="Arial" pitchFamily="34" charset="0"/>
            </a:endParaRPr>
          </a:p>
        </p:txBody>
      </p:sp>
    </p:spTree>
    <p:extLst>
      <p:ext uri="{BB962C8B-B14F-4D97-AF65-F5344CB8AC3E}">
        <p14:creationId xmlns:p14="http://schemas.microsoft.com/office/powerpoint/2010/main" val="3707244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8</a:t>
            </a:fld>
            <a:endParaRPr lang="en-US"/>
          </a:p>
        </p:txBody>
      </p:sp>
    </p:spTree>
    <p:extLst>
      <p:ext uri="{BB962C8B-B14F-4D97-AF65-F5344CB8AC3E}">
        <p14:creationId xmlns:p14="http://schemas.microsoft.com/office/powerpoint/2010/main" val="3984903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668338"/>
            <a:ext cx="6529388" cy="3673475"/>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9</a:t>
            </a:fld>
            <a:endParaRPr lang="en-US"/>
          </a:p>
        </p:txBody>
      </p:sp>
    </p:spTree>
    <p:extLst>
      <p:ext uri="{BB962C8B-B14F-4D97-AF65-F5344CB8AC3E}">
        <p14:creationId xmlns:p14="http://schemas.microsoft.com/office/powerpoint/2010/main" val="390007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7950" y="668338"/>
            <a:ext cx="6529388" cy="3673475"/>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r>
              <a:rPr lang="en-US" b="1">
                <a:solidFill>
                  <a:schemeClr val="accent2"/>
                </a:solidFill>
              </a:rPr>
              <a:t>Notes</a:t>
            </a:r>
            <a:r>
              <a:rPr lang="en-US"/>
              <a:t> </a:t>
            </a:r>
            <a:fld id="{E76C657F-0E32-4130-ADDA-66B81138A76A}" type="slidenum">
              <a:rPr lang="en-US" smtClean="0"/>
              <a:pPr/>
              <a:t>12</a:t>
            </a:fld>
            <a:endParaRPr lang="en-US"/>
          </a:p>
        </p:txBody>
      </p:sp>
    </p:spTree>
    <p:extLst>
      <p:ext uri="{BB962C8B-B14F-4D97-AF65-F5344CB8AC3E}">
        <p14:creationId xmlns:p14="http://schemas.microsoft.com/office/powerpoint/2010/main" val="321417182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jpe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1.jpeg"/><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3.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4.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4.jpeg"/><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image" Target="../media/image26.jpe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5.jpeg"/><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27.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25.jpeg"/><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8.jpeg"/><Relationship Id="rId5" Type="http://schemas.openxmlformats.org/officeDocument/2006/relationships/image" Target="../media/image3.emf"/><Relationship Id="rId4" Type="http://schemas.openxmlformats.org/officeDocument/2006/relationships/oleObject" Target="../embeddings/oleObject19.bin"/><Relationship Id="rId9" Type="http://schemas.openxmlformats.org/officeDocument/2006/relationships/image" Target="../media/image29.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3.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3.emf"/><Relationship Id="rId9" Type="http://schemas.openxmlformats.org/officeDocument/2006/relationships/image" Target="../media/image9.jpe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4.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 Id="rId9" Type="http://schemas.openxmlformats.org/officeDocument/2006/relationships/image" Target="../media/image9.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0.jpe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1.bin"/><Relationship Id="rId9" Type="http://schemas.openxmlformats.org/officeDocument/2006/relationships/image" Target="../media/image32.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3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2.jpe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 Id="rId9" Type="http://schemas.openxmlformats.org/officeDocument/2006/relationships/image" Target="../media/image11.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6.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7.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8.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picture dark 36pt">
    <p:bg>
      <p:bgRef idx="1001">
        <a:schemeClr val="bg2"/>
      </p:bgRef>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D1747595-1396-F64A-9359-4832AE032D1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91999" cy="6858000"/>
          </a:xfrm>
          <a:prstGeom prst="rect">
            <a:avLst/>
          </a:prstGeom>
        </p:spPr>
      </p:pic>
      <p:graphicFrame>
        <p:nvGraphicFramePr>
          <p:cNvPr id="6" name="Objekt 5" hidden="1">
            <a:extLst>
              <a:ext uri="{FF2B5EF4-FFF2-40B4-BE49-F238E27FC236}">
                <a16:creationId xmlns:a16="http://schemas.microsoft.com/office/drawing/2014/main" id="{3B2F7B3A-A0B8-4C3F-8841-E47A275CBE8A}"/>
              </a:ext>
            </a:extLst>
          </p:cNvPr>
          <p:cNvGraphicFramePr>
            <a:graphicFrameLocks noChangeAspect="1"/>
          </p:cNvGraphicFramePr>
          <p:nvPr userDrawn="1">
            <p:custDataLst>
              <p:tags r:id="rId1"/>
            </p:custDataLst>
            <p:extLst>
              <p:ext uri="{D42A27DB-BD31-4B8C-83A1-F6EECF244321}">
                <p14:modId xmlns:p14="http://schemas.microsoft.com/office/powerpoint/2010/main" val="318493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B2F7B3A-A0B8-4C3F-8841-E47A275CBE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74400" y="6364800"/>
            <a:ext cx="1512000" cy="240408"/>
          </a:xfrm>
          <a:prstGeom prst="rect">
            <a:avLst/>
          </a:prstGeom>
        </p:spPr>
      </p:pic>
      <p:sp>
        <p:nvSpPr>
          <p:cNvPr id="5" name="Rechteck 4">
            <a:extLst>
              <a:ext uri="{FF2B5EF4-FFF2-40B4-BE49-F238E27FC236}">
                <a16:creationId xmlns:a16="http://schemas.microsoft.com/office/drawing/2014/main" id="{0DC04C6C-F445-874E-BBA9-DCCDDB0FFEE1}"/>
              </a:ext>
            </a:extLst>
          </p:cNvPr>
          <p:cNvSpPr/>
          <p:nvPr userDrawn="1"/>
        </p:nvSpPr>
        <p:spPr>
          <a:xfrm rot="10800000" flipV="1">
            <a:off x="0" y="2491409"/>
            <a:ext cx="6321287" cy="4366591"/>
          </a:xfrm>
          <a:prstGeom prst="rect">
            <a:avLst/>
          </a:prstGeom>
          <a:gradFill>
            <a:gsLst>
              <a:gs pos="16000">
                <a:srgbClr val="000000">
                  <a:alpha val="63660"/>
                </a:srgbClr>
              </a:gs>
              <a:gs pos="59000">
                <a:schemeClr val="bg1">
                  <a:alpha val="26240"/>
                </a:schemeClr>
              </a:gs>
              <a:gs pos="100000">
                <a:schemeClr val="bg1">
                  <a:alpha val="0"/>
                </a:schemeClr>
              </a:gs>
            </a:gsLst>
            <a:path path="rect">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0" name="Textfeld 9">
            <a:extLst>
              <a:ext uri="{FF2B5EF4-FFF2-40B4-BE49-F238E27FC236}">
                <a16:creationId xmlns:a16="http://schemas.microsoft.com/office/drawing/2014/main" id="{4C4E11D2-8067-AD42-9914-B306FD34AD96}"/>
              </a:ext>
            </a:extLst>
          </p:cNvPr>
          <p:cNvSpPr txBox="1"/>
          <p:nvPr userDrawn="1"/>
        </p:nvSpPr>
        <p:spPr>
          <a:xfrm>
            <a:off x="410400" y="6581001"/>
            <a:ext cx="247343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Unrestricted | © Siemens 2022 | InnoTrans 2022</a:t>
            </a:r>
          </a:p>
          <a:p>
            <a:pPr algn="l"/>
            <a:endParaRPr lang="de-DE" sz="900" err="1"/>
          </a:p>
        </p:txBody>
      </p:sp>
      <p:pic>
        <p:nvPicPr>
          <p:cNvPr id="12" name="Grafik 11">
            <a:extLst>
              <a:ext uri="{FF2B5EF4-FFF2-40B4-BE49-F238E27FC236}">
                <a16:creationId xmlns:a16="http://schemas.microsoft.com/office/drawing/2014/main" id="{E86CC6C5-4028-C640-B611-21591DD2035E}"/>
              </a:ext>
            </a:extLst>
          </p:cNvPr>
          <p:cNvPicPr>
            <a:picLocks noChangeAspect="1"/>
          </p:cNvPicPr>
          <p:nvPr userDrawn="1"/>
        </p:nvPicPr>
        <p:blipFill>
          <a:blip r:embed="rId8"/>
          <a:stretch>
            <a:fillRect/>
          </a:stretch>
        </p:blipFill>
        <p:spPr>
          <a:xfrm>
            <a:off x="369761" y="4328204"/>
            <a:ext cx="5482400" cy="1470384"/>
          </a:xfrm>
          <a:prstGeom prst="rect">
            <a:avLst/>
          </a:prstGeom>
        </p:spPr>
      </p:pic>
    </p:spTree>
    <p:extLst>
      <p:ext uri="{BB962C8B-B14F-4D97-AF65-F5344CB8AC3E}">
        <p14:creationId xmlns:p14="http://schemas.microsoft.com/office/powerpoint/2010/main" val="37871536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7FFFD8C6-865F-2747-8AA1-1C58D634E55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1" y="0"/>
            <a:ext cx="12189798" cy="6167438"/>
          </a:xfrm>
          <a:prstGeom prst="rect">
            <a:avLst/>
          </a:prstGeom>
        </p:spPr>
      </p:pic>
      <p:graphicFrame>
        <p:nvGraphicFramePr>
          <p:cNvPr id="6" name="Objekt 5" hidden="1">
            <a:extLst>
              <a:ext uri="{FF2B5EF4-FFF2-40B4-BE49-F238E27FC236}">
                <a16:creationId xmlns:a16="http://schemas.microsoft.com/office/drawing/2014/main" id="{BA99778B-B81B-4C2A-9CB0-736F80B0F6FB}"/>
              </a:ext>
            </a:extLst>
          </p:cNvPr>
          <p:cNvGraphicFramePr>
            <a:graphicFrameLocks noChangeAspect="1"/>
          </p:cNvGraphicFramePr>
          <p:nvPr userDrawn="1">
            <p:custDataLst>
              <p:tags r:id="rId1"/>
            </p:custDataLst>
            <p:extLst>
              <p:ext uri="{D42A27DB-BD31-4B8C-83A1-F6EECF244321}">
                <p14:modId xmlns:p14="http://schemas.microsoft.com/office/powerpoint/2010/main" val="429452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BA99778B-B81B-4C2A-9CB0-736F80B0F6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411163" y="1469090"/>
            <a:ext cx="5165458" cy="2215991"/>
          </a:xfrm>
          <a:noFill/>
        </p:spPr>
        <p:txBody>
          <a:bodyPr vert="horz" wrap="square" rIns="0" bIns="0" anchor="t">
            <a:spAutoFit/>
          </a:bodyPr>
          <a:lstStyle>
            <a:lvl1pPr marL="0" rtl="0">
              <a:lnSpc>
                <a:spcPct val="100000"/>
              </a:lnSpc>
              <a:defRPr sz="4800">
                <a:solidFill>
                  <a:schemeClr val="bg1"/>
                </a:solidFill>
              </a:defRPr>
            </a:lvl1pPr>
          </a:lstStyle>
          <a:p>
            <a:r>
              <a:rPr lang="en-US"/>
              <a:t>Maximized throughput related Headline</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AF66A87-54F0-A842-A523-2104F22C027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1" y="0"/>
            <a:ext cx="7609374" cy="6167438"/>
          </a:xfrm>
          <a:prstGeom prst="rect">
            <a:avLst/>
          </a:prstGeom>
        </p:spPr>
      </p:pic>
      <p:graphicFrame>
        <p:nvGraphicFramePr>
          <p:cNvPr id="7" name="Objekt 6" hidden="1">
            <a:extLst>
              <a:ext uri="{FF2B5EF4-FFF2-40B4-BE49-F238E27FC236}">
                <a16:creationId xmlns:a16="http://schemas.microsoft.com/office/drawing/2014/main" id="{5F53EAD4-BFEF-41E1-88F1-F560CEE215B8}"/>
              </a:ext>
            </a:extLst>
          </p:cNvPr>
          <p:cNvGraphicFramePr>
            <a:graphicFrameLocks noChangeAspect="1"/>
          </p:cNvGraphicFramePr>
          <p:nvPr userDrawn="1">
            <p:custDataLst>
              <p:tags r:id="rId1"/>
            </p:custDataLst>
            <p:extLst>
              <p:ext uri="{D42A27DB-BD31-4B8C-83A1-F6EECF244321}">
                <p14:modId xmlns:p14="http://schemas.microsoft.com/office/powerpoint/2010/main" val="240320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5F53EAD4-BFEF-41E1-88F1-F560CEE21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
        <p:nvSpPr>
          <p:cNvPr id="11" name="Title">
            <a:extLst>
              <a:ext uri="{FF2B5EF4-FFF2-40B4-BE49-F238E27FC236}">
                <a16:creationId xmlns:a16="http://schemas.microsoft.com/office/drawing/2014/main" id="{1915FF2E-3FCD-D740-8591-87C9507AE16D}"/>
              </a:ext>
            </a:extLst>
          </p:cNvPr>
          <p:cNvSpPr>
            <a:spLocks noGrp="1"/>
          </p:cNvSpPr>
          <p:nvPr>
            <p:ph type="title" hasCustomPrompt="1"/>
          </p:nvPr>
        </p:nvSpPr>
        <p:spPr>
          <a:xfrm>
            <a:off x="411162" y="690562"/>
            <a:ext cx="4774024" cy="2215991"/>
          </a:xfrm>
          <a:noFill/>
        </p:spPr>
        <p:txBody>
          <a:bodyPr vert="horz" wrap="square" rIns="0" bIns="0" anchor="t">
            <a:spAutoFit/>
          </a:bodyPr>
          <a:lstStyle>
            <a:lvl1pPr marL="0" rtl="0">
              <a:lnSpc>
                <a:spcPct val="100000"/>
              </a:lnSpc>
              <a:defRPr sz="4800">
                <a:solidFill>
                  <a:schemeClr val="tx1"/>
                </a:solidFill>
              </a:defRPr>
            </a:lvl1pPr>
          </a:lstStyle>
          <a:p>
            <a:r>
              <a:rPr lang="en-US"/>
              <a:t>Maximized throughput related Headline</a:t>
            </a:r>
          </a:p>
        </p:txBody>
      </p:sp>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498"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67"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ingle large imag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6BF86D54-C756-C041-92C7-F00D14FFAC65}"/>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89798" cy="6167438"/>
          </a:xfrm>
          <a:prstGeom prst="rect">
            <a:avLst/>
          </a:prstGeom>
        </p:spPr>
      </p:pic>
      <p:graphicFrame>
        <p:nvGraphicFramePr>
          <p:cNvPr id="6" name="Objekt 5" hidden="1">
            <a:extLst>
              <a:ext uri="{FF2B5EF4-FFF2-40B4-BE49-F238E27FC236}">
                <a16:creationId xmlns:a16="http://schemas.microsoft.com/office/drawing/2014/main" id="{BA99778B-B81B-4C2A-9CB0-736F80B0F6FB}"/>
              </a:ext>
            </a:extLst>
          </p:cNvPr>
          <p:cNvGraphicFramePr>
            <a:graphicFrameLocks noChangeAspect="1"/>
          </p:cNvGraphicFramePr>
          <p:nvPr userDrawn="1">
            <p:custDataLst>
              <p:tags r:id="rId1"/>
            </p:custDataLst>
            <p:extLst>
              <p:ext uri="{D42A27DB-BD31-4B8C-83A1-F6EECF244321}">
                <p14:modId xmlns:p14="http://schemas.microsoft.com/office/powerpoint/2010/main" val="429452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BA99778B-B81B-4C2A-9CB0-736F80B0F6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
        <p:nvSpPr>
          <p:cNvPr id="8" name="Rechteck 7">
            <a:extLst>
              <a:ext uri="{FF2B5EF4-FFF2-40B4-BE49-F238E27FC236}">
                <a16:creationId xmlns:a16="http://schemas.microsoft.com/office/drawing/2014/main" id="{6993B22F-47E2-F947-A7FC-78530F220EC6}"/>
              </a:ext>
            </a:extLst>
          </p:cNvPr>
          <p:cNvSpPr/>
          <p:nvPr userDrawn="1"/>
        </p:nvSpPr>
        <p:spPr>
          <a:xfrm rot="10800000">
            <a:off x="-1" y="-3"/>
            <a:ext cx="4733365" cy="5959738"/>
          </a:xfrm>
          <a:prstGeom prst="rect">
            <a:avLst/>
          </a:prstGeom>
          <a:gradFill flip="none" rotWithShape="1">
            <a:gsLst>
              <a:gs pos="55000">
                <a:schemeClr val="tx1">
                  <a:alpha val="49426"/>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0" name="Title">
            <a:extLst>
              <a:ext uri="{FF2B5EF4-FFF2-40B4-BE49-F238E27FC236}">
                <a16:creationId xmlns:a16="http://schemas.microsoft.com/office/drawing/2014/main" id="{233DA1CC-B726-DA49-8CF4-30482E1002BF}"/>
              </a:ext>
            </a:extLst>
          </p:cNvPr>
          <p:cNvSpPr>
            <a:spLocks noGrp="1"/>
          </p:cNvSpPr>
          <p:nvPr>
            <p:ph type="title" hasCustomPrompt="1"/>
          </p:nvPr>
        </p:nvSpPr>
        <p:spPr>
          <a:xfrm>
            <a:off x="411163" y="1469090"/>
            <a:ext cx="4733366" cy="2215991"/>
          </a:xfrm>
          <a:noFill/>
        </p:spPr>
        <p:txBody>
          <a:bodyPr vert="horz" wrap="square" rIns="0" bIns="0" anchor="t">
            <a:spAutoFit/>
          </a:bodyPr>
          <a:lstStyle>
            <a:lvl1pPr marL="0" rtl="0">
              <a:lnSpc>
                <a:spcPct val="100000"/>
              </a:lnSpc>
              <a:defRPr sz="4800">
                <a:solidFill>
                  <a:schemeClr val="bg1"/>
                </a:solidFill>
              </a:defRPr>
            </a:lvl1pPr>
          </a:lstStyle>
          <a:p>
            <a:r>
              <a:rPr lang="en-US"/>
              <a:t>Optimized Life Cycle Costs related Headline</a:t>
            </a:r>
          </a:p>
        </p:txBody>
      </p:sp>
    </p:spTree>
    <p:extLst>
      <p:ext uri="{BB962C8B-B14F-4D97-AF65-F5344CB8AC3E}">
        <p14:creationId xmlns:p14="http://schemas.microsoft.com/office/powerpoint/2010/main" val="3820884017"/>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ingle image (Text spotlight)">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BAF66A87-54F0-A842-A523-2104F22C027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01" y="0"/>
            <a:ext cx="7609374" cy="6167438"/>
          </a:xfrm>
          <a:prstGeom prst="rect">
            <a:avLst/>
          </a:prstGeom>
        </p:spPr>
      </p:pic>
      <p:graphicFrame>
        <p:nvGraphicFramePr>
          <p:cNvPr id="7" name="Objekt 6" hidden="1">
            <a:extLst>
              <a:ext uri="{FF2B5EF4-FFF2-40B4-BE49-F238E27FC236}">
                <a16:creationId xmlns:a16="http://schemas.microsoft.com/office/drawing/2014/main" id="{5F53EAD4-BFEF-41E1-88F1-F560CEE215B8}"/>
              </a:ext>
            </a:extLst>
          </p:cNvPr>
          <p:cNvGraphicFramePr>
            <a:graphicFrameLocks noChangeAspect="1"/>
          </p:cNvGraphicFramePr>
          <p:nvPr userDrawn="1">
            <p:custDataLst>
              <p:tags r:id="rId1"/>
            </p:custDataLst>
            <p:extLst>
              <p:ext uri="{D42A27DB-BD31-4B8C-83A1-F6EECF244321}">
                <p14:modId xmlns:p14="http://schemas.microsoft.com/office/powerpoint/2010/main" val="240320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5F53EAD4-BFEF-41E1-88F1-F560CEE21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rafik 9">
            <a:extLst>
              <a:ext uri="{FF2B5EF4-FFF2-40B4-BE49-F238E27FC236}">
                <a16:creationId xmlns:a16="http://schemas.microsoft.com/office/drawing/2014/main" id="{81547A38-0A5D-DC43-B800-ABDBC29F8593}"/>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7609374" cy="6167438"/>
          </a:xfrm>
          <a:prstGeom prst="rect">
            <a:avLst/>
          </a:prstGeom>
        </p:spPr>
      </p:pic>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35188" y="6418800"/>
            <a:ext cx="1152000" cy="183168"/>
          </a:xfrm>
          <a:prstGeom prst="rect">
            <a:avLst/>
          </a:prstGeom>
        </p:spPr>
      </p:pic>
      <p:sp>
        <p:nvSpPr>
          <p:cNvPr id="12" name="Rechteck 11">
            <a:extLst>
              <a:ext uri="{FF2B5EF4-FFF2-40B4-BE49-F238E27FC236}">
                <a16:creationId xmlns:a16="http://schemas.microsoft.com/office/drawing/2014/main" id="{5379F1AE-FCD9-6C4E-834A-0BDE56420564}"/>
              </a:ext>
            </a:extLst>
          </p:cNvPr>
          <p:cNvSpPr/>
          <p:nvPr userDrawn="1"/>
        </p:nvSpPr>
        <p:spPr>
          <a:xfrm rot="10800000">
            <a:off x="-2" y="-3"/>
            <a:ext cx="5636303" cy="4557012"/>
          </a:xfrm>
          <a:prstGeom prst="rect">
            <a:avLst/>
          </a:prstGeom>
          <a:gradFill flip="none" rotWithShape="1">
            <a:gsLst>
              <a:gs pos="19000">
                <a:schemeClr val="tx1">
                  <a:alpha val="36135"/>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1" name="Title">
            <a:extLst>
              <a:ext uri="{FF2B5EF4-FFF2-40B4-BE49-F238E27FC236}">
                <a16:creationId xmlns:a16="http://schemas.microsoft.com/office/drawing/2014/main" id="{1915FF2E-3FCD-D740-8591-87C9507AE16D}"/>
              </a:ext>
            </a:extLst>
          </p:cNvPr>
          <p:cNvSpPr>
            <a:spLocks noGrp="1"/>
          </p:cNvSpPr>
          <p:nvPr>
            <p:ph type="title" hasCustomPrompt="1"/>
          </p:nvPr>
        </p:nvSpPr>
        <p:spPr>
          <a:xfrm>
            <a:off x="411162" y="690562"/>
            <a:ext cx="4520601" cy="2954655"/>
          </a:xfrm>
          <a:noFill/>
        </p:spPr>
        <p:txBody>
          <a:bodyPr vert="horz" wrap="square" rIns="0" bIns="0" anchor="t">
            <a:spAutoFit/>
          </a:bodyPr>
          <a:lstStyle>
            <a:lvl1pPr marL="0" rtl="0">
              <a:lnSpc>
                <a:spcPct val="100000"/>
              </a:lnSpc>
              <a:defRPr sz="4800">
                <a:solidFill>
                  <a:schemeClr val="bg1"/>
                </a:solidFill>
              </a:defRPr>
            </a:lvl1pPr>
          </a:lstStyle>
          <a:p>
            <a:r>
              <a:rPr lang="en-US"/>
              <a:t>Optimized Life Cycle Costs related Headline</a:t>
            </a:r>
          </a:p>
        </p:txBody>
      </p:sp>
    </p:spTree>
    <p:extLst>
      <p:ext uri="{BB962C8B-B14F-4D97-AF65-F5344CB8AC3E}">
        <p14:creationId xmlns:p14="http://schemas.microsoft.com/office/powerpoint/2010/main" val="2487882510"/>
      </p:ext>
    </p:extLst>
  </p:cSld>
  <p:clrMapOvr>
    <a:masterClrMapping/>
  </p:clrMapOvr>
  <p:extLst>
    <p:ext uri="{DCECCB84-F9BA-43D5-87BE-67443E8EF086}">
      <p15:sldGuideLst xmlns:p15="http://schemas.microsoft.com/office/powerpoint/2012/main">
        <p15:guide id="1" pos="259">
          <p15:clr>
            <a:srgbClr val="65CEFF"/>
          </p15:clr>
        </p15:guide>
        <p15:guide id="2" pos="4498">
          <p15:clr>
            <a:srgbClr val="65CEFF"/>
          </p15:clr>
        </p15:guide>
        <p15:guide id="3" pos="4794">
          <p15:clr>
            <a:srgbClr val="65CEFF"/>
          </p15:clr>
        </p15:guide>
        <p15:guide id="4" pos="5066">
          <p15:clr>
            <a:srgbClr val="65CEFF"/>
          </p15:clr>
        </p15:guide>
        <p15:guide id="5" pos="6472">
          <p15:clr>
            <a:srgbClr val="65CEFF"/>
          </p15:clr>
        </p15:guide>
        <p15:guide id="6" pos="7425">
          <p15:clr>
            <a:srgbClr val="65CEFF"/>
          </p15:clr>
        </p15:guide>
        <p15:guide id="7" orient="horz" pos="302">
          <p15:clr>
            <a:srgbClr val="65CEFF"/>
          </p15:clr>
        </p15:guide>
        <p15:guide id="8" orient="horz" pos="664">
          <p15:clr>
            <a:srgbClr val="65CEFF"/>
          </p15:clr>
        </p15:guide>
        <p15:guide id="9" orient="horz" pos="913" userDrawn="1">
          <p15:clr>
            <a:srgbClr val="65CEFF"/>
          </p15:clr>
        </p15:guide>
        <p15:guide id="10" orient="horz" pos="3634" userDrawn="1">
          <p15:clr>
            <a:srgbClr val="65CEFF"/>
          </p15:clr>
        </p15:guide>
        <p15:guide id="11" orient="horz" pos="3885">
          <p15:clr>
            <a:srgbClr val="65CEFF"/>
          </p15:clr>
        </p15:guide>
        <p15:guide id="12"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Single large imag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1CB3C9D-F740-434D-AE60-C12885AA2C1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92000" cy="6167438"/>
          </a:xfrm>
          <a:prstGeom prst="rect">
            <a:avLst/>
          </a:prstGeom>
        </p:spPr>
      </p:pic>
      <p:graphicFrame>
        <p:nvGraphicFramePr>
          <p:cNvPr id="6" name="Objekt 5" hidden="1">
            <a:extLst>
              <a:ext uri="{FF2B5EF4-FFF2-40B4-BE49-F238E27FC236}">
                <a16:creationId xmlns:a16="http://schemas.microsoft.com/office/drawing/2014/main" id="{BA99778B-B81B-4C2A-9CB0-736F80B0F6FB}"/>
              </a:ext>
            </a:extLst>
          </p:cNvPr>
          <p:cNvGraphicFramePr>
            <a:graphicFrameLocks noChangeAspect="1"/>
          </p:cNvGraphicFramePr>
          <p:nvPr userDrawn="1">
            <p:custDataLst>
              <p:tags r:id="rId1"/>
            </p:custDataLst>
            <p:extLst>
              <p:ext uri="{D42A27DB-BD31-4B8C-83A1-F6EECF244321}">
                <p14:modId xmlns:p14="http://schemas.microsoft.com/office/powerpoint/2010/main" val="429452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BA99778B-B81B-4C2A-9CB0-736F80B0F6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
        <p:nvSpPr>
          <p:cNvPr id="10" name="Rechteck 9">
            <a:extLst>
              <a:ext uri="{FF2B5EF4-FFF2-40B4-BE49-F238E27FC236}">
                <a16:creationId xmlns:a16="http://schemas.microsoft.com/office/drawing/2014/main" id="{DC13AD25-49C5-D64F-B57F-2C8528787E6E}"/>
              </a:ext>
            </a:extLst>
          </p:cNvPr>
          <p:cNvSpPr/>
          <p:nvPr userDrawn="1"/>
        </p:nvSpPr>
        <p:spPr>
          <a:xfrm rot="10800000">
            <a:off x="-3" y="-3"/>
            <a:ext cx="6096001" cy="6167438"/>
          </a:xfrm>
          <a:prstGeom prst="rect">
            <a:avLst/>
          </a:prstGeom>
          <a:gradFill flip="none" rotWithShape="1">
            <a:gsLst>
              <a:gs pos="23000">
                <a:schemeClr val="tx1">
                  <a:alpha val="68000"/>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411163" y="1469090"/>
            <a:ext cx="5165458" cy="2215991"/>
          </a:xfrm>
          <a:noFill/>
        </p:spPr>
        <p:txBody>
          <a:bodyPr vert="horz" wrap="square" rIns="0" bIns="0" anchor="t">
            <a:spAutoFit/>
          </a:bodyPr>
          <a:lstStyle>
            <a:lvl1pPr marL="0" rtl="0">
              <a:lnSpc>
                <a:spcPct val="100000"/>
              </a:lnSpc>
              <a:defRPr sz="4800">
                <a:solidFill>
                  <a:schemeClr val="bg1"/>
                </a:solidFill>
              </a:defRPr>
            </a:lvl1pPr>
          </a:lstStyle>
          <a:p>
            <a:r>
              <a:rPr lang="en-US"/>
              <a:t>Ultimate Availability related Headline</a:t>
            </a:r>
          </a:p>
        </p:txBody>
      </p:sp>
    </p:spTree>
    <p:extLst>
      <p:ext uri="{BB962C8B-B14F-4D97-AF65-F5344CB8AC3E}">
        <p14:creationId xmlns:p14="http://schemas.microsoft.com/office/powerpoint/2010/main" val="1186189208"/>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Single image (Text spotligh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B70B8C9-1D94-7747-8F0F-A842DA0567AB}"/>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7610475" cy="6167438"/>
          </a:xfrm>
          <a:prstGeom prst="rect">
            <a:avLst/>
          </a:prstGeom>
        </p:spPr>
      </p:pic>
      <p:graphicFrame>
        <p:nvGraphicFramePr>
          <p:cNvPr id="7" name="Objekt 6" hidden="1">
            <a:extLst>
              <a:ext uri="{FF2B5EF4-FFF2-40B4-BE49-F238E27FC236}">
                <a16:creationId xmlns:a16="http://schemas.microsoft.com/office/drawing/2014/main" id="{5F53EAD4-BFEF-41E1-88F1-F560CEE215B8}"/>
              </a:ext>
            </a:extLst>
          </p:cNvPr>
          <p:cNvGraphicFramePr>
            <a:graphicFrameLocks noChangeAspect="1"/>
          </p:cNvGraphicFramePr>
          <p:nvPr userDrawn="1">
            <p:custDataLst>
              <p:tags r:id="rId1"/>
            </p:custDataLst>
            <p:extLst>
              <p:ext uri="{D42A27DB-BD31-4B8C-83A1-F6EECF244321}">
                <p14:modId xmlns:p14="http://schemas.microsoft.com/office/powerpoint/2010/main" val="240320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5F53EAD4-BFEF-41E1-88F1-F560CEE21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lvl1pPr rtl="0">
              <a:defRPr/>
            </a:lvl1pPr>
            <a:lvl2pPr rtl="0">
              <a:defRPr/>
            </a:lvl2pPr>
            <a:lvl3pPr rtl="0">
              <a:defRPr/>
            </a:lvl3pPr>
            <a:lvl4pPr rtl="0">
              <a:defRPr/>
            </a:lvl4pPr>
            <a:lvl5pPr rtl="0">
              <a:defRPr/>
            </a:lvl5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635188" y="6418800"/>
            <a:ext cx="1152000" cy="183168"/>
          </a:xfrm>
          <a:prstGeom prst="rect">
            <a:avLst/>
          </a:prstGeom>
        </p:spPr>
      </p:pic>
      <p:sp>
        <p:nvSpPr>
          <p:cNvPr id="12" name="Rechteck 11">
            <a:extLst>
              <a:ext uri="{FF2B5EF4-FFF2-40B4-BE49-F238E27FC236}">
                <a16:creationId xmlns:a16="http://schemas.microsoft.com/office/drawing/2014/main" id="{B6B40DD1-B32C-6849-80F8-DC5EE9179AC4}"/>
              </a:ext>
            </a:extLst>
          </p:cNvPr>
          <p:cNvSpPr/>
          <p:nvPr userDrawn="1"/>
        </p:nvSpPr>
        <p:spPr>
          <a:xfrm rot="10800000">
            <a:off x="-2" y="-3"/>
            <a:ext cx="6096001" cy="5556740"/>
          </a:xfrm>
          <a:prstGeom prst="rect">
            <a:avLst/>
          </a:prstGeom>
          <a:gradFill flip="none" rotWithShape="1">
            <a:gsLst>
              <a:gs pos="65000">
                <a:schemeClr val="tx1">
                  <a:alpha val="48681"/>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3" name="Title">
            <a:extLst>
              <a:ext uri="{FF2B5EF4-FFF2-40B4-BE49-F238E27FC236}">
                <a16:creationId xmlns:a16="http://schemas.microsoft.com/office/drawing/2014/main" id="{E8252A65-EC22-A141-9C19-C67EE3AB8775}"/>
              </a:ext>
            </a:extLst>
          </p:cNvPr>
          <p:cNvSpPr>
            <a:spLocks noGrp="1"/>
          </p:cNvSpPr>
          <p:nvPr>
            <p:ph type="title" hasCustomPrompt="1"/>
          </p:nvPr>
        </p:nvSpPr>
        <p:spPr>
          <a:xfrm>
            <a:off x="411162" y="690562"/>
            <a:ext cx="5165179" cy="2215991"/>
          </a:xfrm>
          <a:noFill/>
        </p:spPr>
        <p:txBody>
          <a:bodyPr vert="horz" wrap="square" rIns="0" bIns="0" anchor="t">
            <a:spAutoFit/>
          </a:bodyPr>
          <a:lstStyle>
            <a:lvl1pPr marL="0" rtl="0">
              <a:lnSpc>
                <a:spcPct val="100000"/>
              </a:lnSpc>
              <a:defRPr sz="4800">
                <a:solidFill>
                  <a:schemeClr val="bg1"/>
                </a:solidFill>
              </a:defRPr>
            </a:lvl1pPr>
          </a:lstStyle>
          <a:p>
            <a:r>
              <a:rPr lang="en-US"/>
              <a:t>Ultimate Availability related Headline</a:t>
            </a:r>
          </a:p>
        </p:txBody>
      </p:sp>
    </p:spTree>
    <p:extLst>
      <p:ext uri="{BB962C8B-B14F-4D97-AF65-F5344CB8AC3E}">
        <p14:creationId xmlns:p14="http://schemas.microsoft.com/office/powerpoint/2010/main" val="3803217313"/>
      </p:ext>
    </p:extLst>
  </p:cSld>
  <p:clrMapOvr>
    <a:masterClrMapping/>
  </p:clrMapOvr>
  <p:extLst>
    <p:ext uri="{DCECCB84-F9BA-43D5-87BE-67443E8EF086}">
      <p15:sldGuideLst xmlns:p15="http://schemas.microsoft.com/office/powerpoint/2012/main">
        <p15:guide id="1" pos="259">
          <p15:clr>
            <a:srgbClr val="65CEFF"/>
          </p15:clr>
        </p15:guide>
        <p15:guide id="2" pos="4498">
          <p15:clr>
            <a:srgbClr val="65CEFF"/>
          </p15:clr>
        </p15:guide>
        <p15:guide id="3" pos="4794">
          <p15:clr>
            <a:srgbClr val="65CEFF"/>
          </p15:clr>
        </p15:guide>
        <p15:guide id="4" pos="5066">
          <p15:clr>
            <a:srgbClr val="65CEFF"/>
          </p15:clr>
        </p15:guide>
        <p15:guide id="5" pos="6448" userDrawn="1">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Single large imag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1CB3C9D-F740-434D-AE60-C12885AA2C1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12192000" cy="6167438"/>
          </a:xfrm>
          <a:prstGeom prst="rect">
            <a:avLst/>
          </a:prstGeom>
        </p:spPr>
      </p:pic>
      <p:pic>
        <p:nvPicPr>
          <p:cNvPr id="8" name="Grafik 7">
            <a:extLst>
              <a:ext uri="{FF2B5EF4-FFF2-40B4-BE49-F238E27FC236}">
                <a16:creationId xmlns:a16="http://schemas.microsoft.com/office/drawing/2014/main" id="{CAA9E257-1C15-7F44-8A9A-16C87C3D38A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0" y="0"/>
            <a:ext cx="12192000" cy="6167436"/>
          </a:xfrm>
          <a:prstGeom prst="rect">
            <a:avLst/>
          </a:prstGeom>
        </p:spPr>
      </p:pic>
      <p:graphicFrame>
        <p:nvGraphicFramePr>
          <p:cNvPr id="6" name="Objekt 5" hidden="1">
            <a:extLst>
              <a:ext uri="{FF2B5EF4-FFF2-40B4-BE49-F238E27FC236}">
                <a16:creationId xmlns:a16="http://schemas.microsoft.com/office/drawing/2014/main" id="{BA99778B-B81B-4C2A-9CB0-736F80B0F6FB}"/>
              </a:ext>
            </a:extLst>
          </p:cNvPr>
          <p:cNvGraphicFramePr>
            <a:graphicFrameLocks noChangeAspect="1"/>
          </p:cNvGraphicFramePr>
          <p:nvPr userDrawn="1">
            <p:custDataLst>
              <p:tags r:id="rId1"/>
            </p:custDataLst>
            <p:extLst>
              <p:ext uri="{D42A27DB-BD31-4B8C-83A1-F6EECF244321}">
                <p14:modId xmlns:p14="http://schemas.microsoft.com/office/powerpoint/2010/main" val="429452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kt 5" hidden="1">
                        <a:extLst>
                          <a:ext uri="{FF2B5EF4-FFF2-40B4-BE49-F238E27FC236}">
                            <a16:creationId xmlns:a16="http://schemas.microsoft.com/office/drawing/2014/main" id="{BA99778B-B81B-4C2A-9CB0-736F80B0F6F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35188" y="6418800"/>
            <a:ext cx="1152000" cy="183168"/>
          </a:xfrm>
          <a:prstGeom prst="rect">
            <a:avLst/>
          </a:prstGeom>
        </p:spPr>
      </p:pic>
      <p:sp>
        <p:nvSpPr>
          <p:cNvPr id="10" name="Rechteck 9">
            <a:extLst>
              <a:ext uri="{FF2B5EF4-FFF2-40B4-BE49-F238E27FC236}">
                <a16:creationId xmlns:a16="http://schemas.microsoft.com/office/drawing/2014/main" id="{DC13AD25-49C5-D64F-B57F-2C8528787E6E}"/>
              </a:ext>
            </a:extLst>
          </p:cNvPr>
          <p:cNvSpPr/>
          <p:nvPr userDrawn="1"/>
        </p:nvSpPr>
        <p:spPr>
          <a:xfrm rot="10800000">
            <a:off x="-3" y="-3"/>
            <a:ext cx="6096001" cy="6167438"/>
          </a:xfrm>
          <a:prstGeom prst="rect">
            <a:avLst/>
          </a:prstGeom>
          <a:gradFill flip="none" rotWithShape="1">
            <a:gsLst>
              <a:gs pos="23000">
                <a:schemeClr val="tx1">
                  <a:alpha val="68000"/>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411163" y="1469090"/>
            <a:ext cx="5165458" cy="2215991"/>
          </a:xfrm>
          <a:noFill/>
        </p:spPr>
        <p:txBody>
          <a:bodyPr vert="horz" wrap="square" rIns="0" bIns="0" anchor="t">
            <a:spAutoFit/>
          </a:bodyPr>
          <a:lstStyle>
            <a:lvl1pPr marL="0" rtl="0">
              <a:lnSpc>
                <a:spcPct val="100000"/>
              </a:lnSpc>
              <a:defRPr sz="4800">
                <a:solidFill>
                  <a:schemeClr val="bg1"/>
                </a:solidFill>
              </a:defRPr>
            </a:lvl1pPr>
          </a:lstStyle>
          <a:p>
            <a:r>
              <a:rPr lang="en-US"/>
              <a:t>OCP</a:t>
            </a:r>
            <a:br>
              <a:rPr lang="en-US"/>
            </a:br>
            <a:r>
              <a:rPr lang="en-US"/>
              <a:t>related </a:t>
            </a:r>
            <a:br>
              <a:rPr lang="en-US"/>
            </a:br>
            <a:r>
              <a:rPr lang="en-US"/>
              <a:t>Headline</a:t>
            </a:r>
          </a:p>
        </p:txBody>
      </p:sp>
    </p:spTree>
    <p:extLst>
      <p:ext uri="{BB962C8B-B14F-4D97-AF65-F5344CB8AC3E}">
        <p14:creationId xmlns:p14="http://schemas.microsoft.com/office/powerpoint/2010/main" val="3899623128"/>
      </p:ext>
    </p:extLst>
  </p:cSld>
  <p:clrMapOvr>
    <a:masterClrMapping/>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2" orient="horz" pos="664">
          <p15:clr>
            <a:srgbClr val="65CEFF"/>
          </p15:clr>
        </p15:guide>
        <p15:guide id="17" orient="horz" pos="3885">
          <p15:clr>
            <a:srgbClr val="65CEFF"/>
          </p15:clr>
        </p15:guide>
        <p15:guide id="18"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ingle image (Text spotligh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B70B8C9-1D94-7747-8F0F-A842DA0567AB}"/>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7610475" cy="6167438"/>
          </a:xfrm>
          <a:prstGeom prst="rect">
            <a:avLst/>
          </a:prstGeom>
        </p:spPr>
      </p:pic>
      <p:graphicFrame>
        <p:nvGraphicFramePr>
          <p:cNvPr id="7" name="Objekt 6" hidden="1">
            <a:extLst>
              <a:ext uri="{FF2B5EF4-FFF2-40B4-BE49-F238E27FC236}">
                <a16:creationId xmlns:a16="http://schemas.microsoft.com/office/drawing/2014/main" id="{5F53EAD4-BFEF-41E1-88F1-F560CEE215B8}"/>
              </a:ext>
            </a:extLst>
          </p:cNvPr>
          <p:cNvGraphicFramePr>
            <a:graphicFrameLocks noChangeAspect="1"/>
          </p:cNvGraphicFramePr>
          <p:nvPr userDrawn="1">
            <p:custDataLst>
              <p:tags r:id="rId1"/>
            </p:custDataLst>
            <p:extLst>
              <p:ext uri="{D42A27DB-BD31-4B8C-83A1-F6EECF244321}">
                <p14:modId xmlns:p14="http://schemas.microsoft.com/office/powerpoint/2010/main" val="240320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5F53EAD4-BFEF-41E1-88F1-F560CEE21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pic>
        <p:nvPicPr>
          <p:cNvPr id="11" name="Grafik 10">
            <a:extLst>
              <a:ext uri="{FF2B5EF4-FFF2-40B4-BE49-F238E27FC236}">
                <a16:creationId xmlns:a16="http://schemas.microsoft.com/office/drawing/2014/main" id="{684E553E-7F3F-8448-A61F-F9BDC512E49A}"/>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0" y="0"/>
            <a:ext cx="7610475" cy="6167438"/>
          </a:xfrm>
          <a:prstGeom prst="rect">
            <a:avLst/>
          </a:prstGeom>
        </p:spPr>
      </p:pic>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35188" y="6418800"/>
            <a:ext cx="1152000" cy="183168"/>
          </a:xfrm>
          <a:prstGeom prst="rect">
            <a:avLst/>
          </a:prstGeom>
        </p:spPr>
      </p:pic>
      <p:sp>
        <p:nvSpPr>
          <p:cNvPr id="12" name="Rechteck 11">
            <a:extLst>
              <a:ext uri="{FF2B5EF4-FFF2-40B4-BE49-F238E27FC236}">
                <a16:creationId xmlns:a16="http://schemas.microsoft.com/office/drawing/2014/main" id="{B6B40DD1-B32C-6849-80F8-DC5EE9179AC4}"/>
              </a:ext>
            </a:extLst>
          </p:cNvPr>
          <p:cNvSpPr/>
          <p:nvPr userDrawn="1"/>
        </p:nvSpPr>
        <p:spPr>
          <a:xfrm rot="10800000">
            <a:off x="-2" y="-3"/>
            <a:ext cx="6096001" cy="5556740"/>
          </a:xfrm>
          <a:prstGeom prst="rect">
            <a:avLst/>
          </a:prstGeom>
          <a:gradFill flip="none" rotWithShape="1">
            <a:gsLst>
              <a:gs pos="23000">
                <a:schemeClr val="tx1">
                  <a:alpha val="44994"/>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3" name="Title">
            <a:extLst>
              <a:ext uri="{FF2B5EF4-FFF2-40B4-BE49-F238E27FC236}">
                <a16:creationId xmlns:a16="http://schemas.microsoft.com/office/drawing/2014/main" id="{E8252A65-EC22-A141-9C19-C67EE3AB8775}"/>
              </a:ext>
            </a:extLst>
          </p:cNvPr>
          <p:cNvSpPr>
            <a:spLocks noGrp="1"/>
          </p:cNvSpPr>
          <p:nvPr>
            <p:ph type="title" hasCustomPrompt="1"/>
          </p:nvPr>
        </p:nvSpPr>
        <p:spPr>
          <a:xfrm>
            <a:off x="411162" y="690562"/>
            <a:ext cx="5165458" cy="2215991"/>
          </a:xfrm>
          <a:noFill/>
        </p:spPr>
        <p:txBody>
          <a:bodyPr vert="horz" wrap="square" rIns="0" bIns="0" anchor="t">
            <a:spAutoFit/>
          </a:bodyPr>
          <a:lstStyle>
            <a:lvl1pPr marL="0" rtl="0">
              <a:lnSpc>
                <a:spcPct val="100000"/>
              </a:lnSpc>
              <a:defRPr sz="4800">
                <a:solidFill>
                  <a:schemeClr val="bg1"/>
                </a:solidFill>
              </a:defRPr>
            </a:lvl1pPr>
          </a:lstStyle>
          <a:p>
            <a:r>
              <a:rPr lang="en-US"/>
              <a:t>OCP</a:t>
            </a:r>
            <a:br>
              <a:rPr lang="en-US"/>
            </a:br>
            <a:r>
              <a:rPr lang="en-US"/>
              <a:t>related </a:t>
            </a:r>
            <a:br>
              <a:rPr lang="en-US"/>
            </a:br>
            <a:r>
              <a:rPr lang="en-US"/>
              <a:t>Headline</a:t>
            </a:r>
          </a:p>
        </p:txBody>
      </p:sp>
    </p:spTree>
    <p:extLst>
      <p:ext uri="{BB962C8B-B14F-4D97-AF65-F5344CB8AC3E}">
        <p14:creationId xmlns:p14="http://schemas.microsoft.com/office/powerpoint/2010/main" val="3942140471"/>
      </p:ext>
    </p:extLst>
  </p:cSld>
  <p:clrMapOvr>
    <a:masterClrMapping/>
  </p:clrMapOvr>
  <p:extLst>
    <p:ext uri="{DCECCB84-F9BA-43D5-87BE-67443E8EF086}">
      <p15:sldGuideLst xmlns:p15="http://schemas.microsoft.com/office/powerpoint/2012/main">
        <p15:guide id="1" pos="259">
          <p15:clr>
            <a:srgbClr val="65CEFF"/>
          </p15:clr>
        </p15:guide>
        <p15:guide id="2" pos="4475" userDrawn="1">
          <p15:clr>
            <a:srgbClr val="65CEFF"/>
          </p15:clr>
        </p15:guide>
        <p15:guide id="3" pos="4794">
          <p15:clr>
            <a:srgbClr val="65CEFF"/>
          </p15:clr>
        </p15:guide>
        <p15:guide id="4" pos="5066">
          <p15:clr>
            <a:srgbClr val="65CEFF"/>
          </p15:clr>
        </p15:guide>
        <p15:guide id="5" pos="6448">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Single image (Text spotlight)">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8B70B8C9-1D94-7747-8F0F-A842DA0567AB}"/>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0"/>
            <a:ext cx="7610475" cy="6167438"/>
          </a:xfrm>
          <a:prstGeom prst="rect">
            <a:avLst/>
          </a:prstGeom>
        </p:spPr>
      </p:pic>
      <p:graphicFrame>
        <p:nvGraphicFramePr>
          <p:cNvPr id="7" name="Objekt 6" hidden="1">
            <a:extLst>
              <a:ext uri="{FF2B5EF4-FFF2-40B4-BE49-F238E27FC236}">
                <a16:creationId xmlns:a16="http://schemas.microsoft.com/office/drawing/2014/main" id="{5F53EAD4-BFEF-41E1-88F1-F560CEE215B8}"/>
              </a:ext>
            </a:extLst>
          </p:cNvPr>
          <p:cNvGraphicFramePr>
            <a:graphicFrameLocks noChangeAspect="1"/>
          </p:cNvGraphicFramePr>
          <p:nvPr userDrawn="1">
            <p:custDataLst>
              <p:tags r:id="rId1"/>
            </p:custDataLst>
            <p:extLst>
              <p:ext uri="{D42A27DB-BD31-4B8C-83A1-F6EECF244321}">
                <p14:modId xmlns:p14="http://schemas.microsoft.com/office/powerpoint/2010/main" val="2403207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kt 6" hidden="1">
                        <a:extLst>
                          <a:ext uri="{FF2B5EF4-FFF2-40B4-BE49-F238E27FC236}">
                            <a16:creationId xmlns:a16="http://schemas.microsoft.com/office/drawing/2014/main" id="{5F53EAD4-BFEF-41E1-88F1-F560CEE21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0D2C8291-3551-CF4A-A8E7-7B93D5D3FC9D}"/>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t="-1"/>
          <a:stretch/>
        </p:blipFill>
        <p:spPr>
          <a:xfrm>
            <a:off x="0" y="0"/>
            <a:ext cx="7610475" cy="6167438"/>
          </a:xfrm>
          <a:prstGeom prst="rect">
            <a:avLst/>
          </a:prstGeom>
        </p:spPr>
      </p:pic>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35188" y="6418800"/>
            <a:ext cx="1152000" cy="183168"/>
          </a:xfrm>
          <a:prstGeom prst="rect">
            <a:avLst/>
          </a:prstGeom>
        </p:spPr>
      </p:pic>
      <p:sp>
        <p:nvSpPr>
          <p:cNvPr id="12" name="Rechteck 11">
            <a:extLst>
              <a:ext uri="{FF2B5EF4-FFF2-40B4-BE49-F238E27FC236}">
                <a16:creationId xmlns:a16="http://schemas.microsoft.com/office/drawing/2014/main" id="{B6B40DD1-B32C-6849-80F8-DC5EE9179AC4}"/>
              </a:ext>
            </a:extLst>
          </p:cNvPr>
          <p:cNvSpPr/>
          <p:nvPr userDrawn="1"/>
        </p:nvSpPr>
        <p:spPr>
          <a:xfrm rot="10800000">
            <a:off x="-2" y="-3"/>
            <a:ext cx="6096001" cy="5556740"/>
          </a:xfrm>
          <a:prstGeom prst="rect">
            <a:avLst/>
          </a:prstGeom>
          <a:gradFill flip="none" rotWithShape="1">
            <a:gsLst>
              <a:gs pos="23000">
                <a:schemeClr val="tx1">
                  <a:alpha val="44994"/>
                </a:schemeClr>
              </a:gs>
              <a:gs pos="100000">
                <a:schemeClr val="tx1">
                  <a:alpha val="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5" name="Textfeld 14">
            <a:extLst>
              <a:ext uri="{FF2B5EF4-FFF2-40B4-BE49-F238E27FC236}">
                <a16:creationId xmlns:a16="http://schemas.microsoft.com/office/drawing/2014/main" id="{82FAEE37-809A-1B48-ACF4-B0CEADC09F69}"/>
              </a:ext>
            </a:extLst>
          </p:cNvPr>
          <p:cNvSpPr txBox="1"/>
          <p:nvPr userDrawn="1"/>
        </p:nvSpPr>
        <p:spPr>
          <a:xfrm>
            <a:off x="8035047" y="1054100"/>
            <a:ext cx="3732381" cy="498598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t>The Future </a:t>
            </a:r>
            <a:r>
              <a:rPr lang="de-DE" b="1" err="1"/>
              <a:t>of</a:t>
            </a:r>
            <a:r>
              <a:rPr lang="de-DE" b="1"/>
              <a:t> </a:t>
            </a:r>
            <a:r>
              <a:rPr lang="de-DE" b="1" err="1"/>
              <a:t>rail</a:t>
            </a:r>
            <a:r>
              <a:rPr lang="de-DE" b="1"/>
              <a:t> </a:t>
            </a:r>
            <a:r>
              <a:rPr lang="de-DE" b="1" err="1"/>
              <a:t>has</a:t>
            </a:r>
            <a:r>
              <a:rPr lang="de-DE" b="1"/>
              <a:t> </a:t>
            </a:r>
            <a:r>
              <a:rPr lang="de-DE" b="1" err="1"/>
              <a:t>arrived</a:t>
            </a:r>
            <a:r>
              <a:rPr lang="de-DE" b="1"/>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a:p>
          <a:p>
            <a:pPr marL="0" marR="0" lvl="0" indent="0" algn="l" defTabSz="914400" rtl="0" eaLnBrk="1" fontAlgn="auto" latinLnBrk="0" hangingPunct="1">
              <a:lnSpc>
                <a:spcPct val="100000"/>
              </a:lnSpc>
              <a:spcBef>
                <a:spcPts val="0"/>
              </a:spcBef>
              <a:spcAft>
                <a:spcPts val="0"/>
              </a:spcAft>
              <a:buClrTx/>
              <a:buSzTx/>
              <a:buFontTx/>
              <a:buNone/>
              <a:tabLst/>
              <a:defRPr/>
            </a:pPr>
            <a:r>
              <a:rPr lang="de-AT" sz="1600" b="0" i="0" kern="1200" baseline="0" err="1">
                <a:solidFill>
                  <a:schemeClr val="tx1"/>
                </a:solidFill>
                <a:effectLst/>
                <a:latin typeface="+mn-lt"/>
                <a:ea typeface="+mn-ea"/>
                <a:cs typeface="+mn-cs"/>
              </a:rPr>
              <a:t>Digitalization</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i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ke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o</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next</a:t>
            </a:r>
            <a:r>
              <a:rPr lang="de-AT" sz="1600" b="0" i="0" kern="1200" baseline="0">
                <a:solidFill>
                  <a:schemeClr val="tx1"/>
                </a:solidFill>
                <a:effectLst/>
                <a:latin typeface="+mn-lt"/>
                <a:ea typeface="+mn-ea"/>
                <a:cs typeface="+mn-cs"/>
              </a:rPr>
              <a:t>-level </a:t>
            </a:r>
            <a:r>
              <a:rPr lang="de-AT" sz="1600" b="0" i="0" kern="1200" baseline="0" err="1">
                <a:solidFill>
                  <a:schemeClr val="tx1"/>
                </a:solidFill>
                <a:effectLst/>
                <a:latin typeface="+mn-lt"/>
                <a:ea typeface="+mn-ea"/>
                <a:cs typeface="+mn-cs"/>
              </a:rPr>
              <a:t>mobilit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and</a:t>
            </a:r>
            <a:r>
              <a:rPr lang="de-AT" sz="1600" b="0" i="0" kern="1200" baseline="0">
                <a:solidFill>
                  <a:schemeClr val="tx1"/>
                </a:solidFill>
                <a:effectLst/>
                <a:latin typeface="+mn-lt"/>
                <a:ea typeface="+mn-ea"/>
                <a:cs typeface="+mn-cs"/>
              </a:rPr>
              <a:t> a </a:t>
            </a:r>
            <a:r>
              <a:rPr lang="de-AT" sz="1600" b="0" i="0" kern="1200" baseline="0" err="1">
                <a:solidFill>
                  <a:schemeClr val="tx1"/>
                </a:solidFill>
                <a:effectLst/>
                <a:latin typeface="+mn-lt"/>
                <a:ea typeface="+mn-ea"/>
                <a:cs typeface="+mn-cs"/>
              </a:rPr>
              <a:t>significant</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driver</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o</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meeting</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sustainabilit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goal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of</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future</a:t>
            </a:r>
            <a:r>
              <a:rPr lang="de-AT" sz="1600" b="0" i="0" kern="1200" baseline="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AT" sz="1600" b="0" i="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AT" sz="1600" b="0" i="0" kern="1200" baseline="0" err="1">
                <a:solidFill>
                  <a:schemeClr val="tx1"/>
                </a:solidFill>
                <a:effectLst/>
                <a:latin typeface="+mn-lt"/>
                <a:ea typeface="+mn-ea"/>
                <a:cs typeface="+mn-cs"/>
              </a:rPr>
              <a:t>How</a:t>
            </a:r>
            <a:r>
              <a:rPr lang="de-AT" sz="1600" b="0" i="0" kern="1200" baseline="0">
                <a:solidFill>
                  <a:schemeClr val="tx1"/>
                </a:solidFill>
                <a:effectLst/>
                <a:latin typeface="+mn-lt"/>
                <a:ea typeface="+mn-ea"/>
                <a:cs typeface="+mn-cs"/>
              </a:rPr>
              <a:t>? By </a:t>
            </a:r>
            <a:r>
              <a:rPr lang="de-AT" sz="1600" b="0" i="0" kern="1200" baseline="0" err="1">
                <a:solidFill>
                  <a:schemeClr val="tx1"/>
                </a:solidFill>
                <a:effectLst/>
                <a:latin typeface="+mn-lt"/>
                <a:ea typeface="+mn-ea"/>
                <a:cs typeface="+mn-cs"/>
              </a:rPr>
              <a:t>combining</a:t>
            </a:r>
            <a:r>
              <a:rPr lang="de-AT" sz="1600" b="0" i="0" kern="1200" baseline="0">
                <a:solidFill>
                  <a:schemeClr val="tx1"/>
                </a:solidFill>
                <a:effectLst/>
                <a:latin typeface="+mn-lt"/>
                <a:ea typeface="+mn-ea"/>
                <a:cs typeface="+mn-cs"/>
              </a:rPr>
              <a:t> intelligent </a:t>
            </a:r>
            <a:r>
              <a:rPr lang="de-AT" sz="1600" b="0" i="0" kern="1200" baseline="0" err="1">
                <a:solidFill>
                  <a:schemeClr val="tx1"/>
                </a:solidFill>
                <a:effectLst/>
                <a:latin typeface="+mn-lt"/>
                <a:ea typeface="+mn-ea"/>
                <a:cs typeface="+mn-cs"/>
              </a:rPr>
              <a:t>rail</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infrastructur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optimized</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lif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cycle</a:t>
            </a:r>
            <a:r>
              <a:rPr lang="de-AT" sz="1600" b="0" i="0" kern="1200" baseline="0">
                <a:solidFill>
                  <a:schemeClr val="tx1"/>
                </a:solidFill>
                <a:effectLst/>
                <a:latin typeface="+mn-lt"/>
                <a:ea typeface="+mn-ea"/>
                <a:cs typeface="+mn-cs"/>
              </a:rPr>
              <a:t> costs, digital </a:t>
            </a:r>
            <a:r>
              <a:rPr lang="de-AT" sz="1600" b="0" i="0" kern="1200" baseline="0" err="1">
                <a:solidFill>
                  <a:schemeClr val="tx1"/>
                </a:solidFill>
                <a:effectLst/>
                <a:latin typeface="+mn-lt"/>
                <a:ea typeface="+mn-ea"/>
                <a:cs typeface="+mn-cs"/>
              </a:rPr>
              <a:t>stations</a:t>
            </a:r>
            <a:r>
              <a:rPr lang="de-AT" sz="1600" b="0" i="0" kern="1200" baseline="0">
                <a:solidFill>
                  <a:schemeClr val="tx1"/>
                </a:solidFill>
                <a:effectLst/>
                <a:latin typeface="+mn-lt"/>
                <a:ea typeface="+mn-ea"/>
                <a:cs typeface="+mn-cs"/>
              </a:rPr>
              <a:t> and intelligent </a:t>
            </a:r>
            <a:r>
              <a:rPr lang="de-AT" sz="1600" b="0" i="0" kern="1200" baseline="0" err="1">
                <a:solidFill>
                  <a:schemeClr val="tx1"/>
                </a:solidFill>
                <a:effectLst/>
                <a:latin typeface="+mn-lt"/>
                <a:ea typeface="+mn-ea"/>
                <a:cs typeface="+mn-cs"/>
              </a:rPr>
              <a:t>service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w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achiev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better</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punctuality</a:t>
            </a:r>
            <a:r>
              <a:rPr lang="de-AT" sz="1600" b="0" i="0" kern="1200" baseline="0">
                <a:solidFill>
                  <a:schemeClr val="tx1"/>
                </a:solidFill>
                <a:effectLst/>
                <a:latin typeface="+mn-lt"/>
                <a:ea typeface="+mn-ea"/>
                <a:cs typeface="+mn-cs"/>
              </a:rPr>
              <a:t> and </a:t>
            </a:r>
            <a:r>
              <a:rPr lang="de-AT" sz="1600" b="0" i="0" kern="1200" baseline="0" err="1">
                <a:solidFill>
                  <a:schemeClr val="tx1"/>
                </a:solidFill>
                <a:effectLst/>
                <a:latin typeface="+mn-lt"/>
                <a:ea typeface="+mn-ea"/>
                <a:cs typeface="+mn-cs"/>
              </a:rPr>
              <a:t>availabilit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rates</a:t>
            </a:r>
            <a:r>
              <a:rPr lang="de-AT" sz="1600" b="0" i="0" kern="1200" baseline="0">
                <a:solidFill>
                  <a:schemeClr val="tx1"/>
                </a:solidFill>
                <a:effectLst/>
                <a:latin typeface="+mn-lt"/>
                <a:ea typeface="+mn-ea"/>
                <a:cs typeface="+mn-cs"/>
              </a:rPr>
              <a:t> of </a:t>
            </a:r>
            <a:r>
              <a:rPr lang="de-AT" sz="1600" b="0" i="0" kern="1200" baseline="0" err="1">
                <a:solidFill>
                  <a:schemeClr val="tx1"/>
                </a:solidFill>
                <a:effectLst/>
                <a:latin typeface="+mn-lt"/>
                <a:ea typeface="+mn-ea"/>
                <a:cs typeface="+mn-cs"/>
              </a:rPr>
              <a:t>up</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o</a:t>
            </a:r>
            <a:r>
              <a:rPr lang="de-AT" sz="1600" b="0" i="0" kern="1200" baseline="0">
                <a:solidFill>
                  <a:schemeClr val="tx1"/>
                </a:solidFill>
                <a:effectLst/>
                <a:latin typeface="+mn-lt"/>
                <a:ea typeface="+mn-ea"/>
                <a:cs typeface="+mn-cs"/>
              </a:rPr>
              <a:t> 100%. </a:t>
            </a:r>
            <a:r>
              <a:rPr lang="de-AT" sz="1600" b="0" i="0" kern="1200" baseline="0" err="1">
                <a:solidFill>
                  <a:schemeClr val="tx1"/>
                </a:solidFill>
                <a:effectLst/>
                <a:latin typeface="+mn-lt"/>
                <a:ea typeface="+mn-ea"/>
                <a:cs typeface="+mn-cs"/>
              </a:rPr>
              <a:t>With</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integration</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of</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Maa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solution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we</a:t>
            </a:r>
            <a:r>
              <a:rPr lang="de-AT" sz="1600" b="0" i="0" kern="1200" baseline="0">
                <a:solidFill>
                  <a:schemeClr val="tx1"/>
                </a:solidFill>
                <a:effectLst/>
                <a:latin typeface="+mn-lt"/>
                <a:ea typeface="+mn-ea"/>
                <a:cs typeface="+mn-cs"/>
              </a:rPr>
              <a:t> also </a:t>
            </a:r>
            <a:r>
              <a:rPr lang="de-AT" sz="1600" b="0" i="0" kern="1200" baseline="0" err="1">
                <a:solidFill>
                  <a:schemeClr val="tx1"/>
                </a:solidFill>
                <a:effectLst/>
                <a:latin typeface="+mn-lt"/>
                <a:ea typeface="+mn-ea"/>
                <a:cs typeface="+mn-cs"/>
              </a:rPr>
              <a:t>mak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mainlin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and</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public</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ransport</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mor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attractiv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for</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passenger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enabling</a:t>
            </a:r>
            <a:r>
              <a:rPr lang="de-AT" sz="1600" b="0" i="0" kern="1200" baseline="0">
                <a:solidFill>
                  <a:schemeClr val="tx1"/>
                </a:solidFill>
                <a:effectLst/>
                <a:latin typeface="+mn-lt"/>
                <a:ea typeface="+mn-ea"/>
                <a:cs typeface="+mn-cs"/>
              </a:rPr>
              <a:t> a smooth </a:t>
            </a:r>
            <a:r>
              <a:rPr lang="de-AT" sz="1600" b="0" i="0" kern="1200" baseline="0" err="1">
                <a:solidFill>
                  <a:schemeClr val="tx1"/>
                </a:solidFill>
                <a:effectLst/>
                <a:latin typeface="+mn-lt"/>
                <a:ea typeface="+mn-ea"/>
                <a:cs typeface="+mn-cs"/>
              </a:rPr>
              <a:t>travel</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experienc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from</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first</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o</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last </a:t>
            </a:r>
            <a:r>
              <a:rPr lang="de-AT" sz="1600" b="0" i="0" kern="1200" baseline="0" err="1">
                <a:solidFill>
                  <a:schemeClr val="tx1"/>
                </a:solidFill>
                <a:effectLst/>
                <a:latin typeface="+mn-lt"/>
                <a:ea typeface="+mn-ea"/>
                <a:cs typeface="+mn-cs"/>
              </a:rPr>
              <a:t>mil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Connecting</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real </a:t>
            </a:r>
            <a:r>
              <a:rPr lang="de-AT" sz="1600" b="0" i="0" kern="1200" baseline="0" err="1">
                <a:solidFill>
                  <a:schemeClr val="tx1"/>
                </a:solidFill>
                <a:effectLst/>
                <a:latin typeface="+mn-lt"/>
                <a:ea typeface="+mn-ea"/>
                <a:cs typeface="+mn-cs"/>
              </a:rPr>
              <a:t>with</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the</a:t>
            </a:r>
            <a:r>
              <a:rPr lang="de-AT" sz="1600" b="0" i="0" kern="1200" baseline="0">
                <a:solidFill>
                  <a:schemeClr val="tx1"/>
                </a:solidFill>
                <a:effectLst/>
                <a:latin typeface="+mn-lt"/>
                <a:ea typeface="+mn-ea"/>
                <a:cs typeface="+mn-cs"/>
              </a:rPr>
              <a:t> digital </a:t>
            </a:r>
            <a:r>
              <a:rPr lang="de-AT" sz="1600" b="0" i="0" kern="1200" baseline="0" err="1">
                <a:solidFill>
                  <a:schemeClr val="tx1"/>
                </a:solidFill>
                <a:effectLst/>
                <a:latin typeface="+mn-lt"/>
                <a:ea typeface="+mn-ea"/>
                <a:cs typeface="+mn-cs"/>
              </a:rPr>
              <a:t>world</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simpl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delivers</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better</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performanc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more</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flexibility</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and</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greater</a:t>
            </a:r>
            <a:r>
              <a:rPr lang="de-AT" sz="1600" b="0" i="0" kern="1200" baseline="0">
                <a:solidFill>
                  <a:schemeClr val="tx1"/>
                </a:solidFill>
                <a:effectLst/>
                <a:latin typeface="+mn-lt"/>
                <a:ea typeface="+mn-ea"/>
                <a:cs typeface="+mn-cs"/>
              </a:rPr>
              <a:t> </a:t>
            </a:r>
            <a:r>
              <a:rPr lang="de-AT" sz="1600" b="0" i="0" kern="1200" baseline="0" err="1">
                <a:solidFill>
                  <a:schemeClr val="tx1"/>
                </a:solidFill>
                <a:effectLst/>
                <a:latin typeface="+mn-lt"/>
                <a:ea typeface="+mn-ea"/>
                <a:cs typeface="+mn-cs"/>
              </a:rPr>
              <a:t>sustainability</a:t>
            </a:r>
            <a:r>
              <a:rPr lang="de-AT" sz="1600" b="0" i="0" kern="1200" baseline="0">
                <a:solidFill>
                  <a:schemeClr val="tx1"/>
                </a:solidFill>
                <a:effectLst/>
                <a:latin typeface="+mn-lt"/>
                <a:ea typeface="+mn-ea"/>
                <a:cs typeface="+mn-cs"/>
              </a:rPr>
              <a:t>.</a:t>
            </a:r>
            <a:endParaRPr lang="de-DE" sz="1600" i="0" baseline="0"/>
          </a:p>
        </p:txBody>
      </p:sp>
      <p:pic>
        <p:nvPicPr>
          <p:cNvPr id="14" name="Grafik 13">
            <a:extLst>
              <a:ext uri="{FF2B5EF4-FFF2-40B4-BE49-F238E27FC236}">
                <a16:creationId xmlns:a16="http://schemas.microsoft.com/office/drawing/2014/main" id="{999A891E-48E5-C746-BEF9-E0F9B4B8407E}"/>
              </a:ext>
            </a:extLst>
          </p:cNvPr>
          <p:cNvPicPr>
            <a:picLocks noChangeAspect="1"/>
          </p:cNvPicPr>
          <p:nvPr userDrawn="1"/>
        </p:nvPicPr>
        <p:blipFill>
          <a:blip r:embed="rId9"/>
          <a:stretch>
            <a:fillRect/>
          </a:stretch>
        </p:blipFill>
        <p:spPr>
          <a:xfrm>
            <a:off x="527541" y="820868"/>
            <a:ext cx="3356445" cy="1377003"/>
          </a:xfrm>
          <a:prstGeom prst="rect">
            <a:avLst/>
          </a:prstGeom>
        </p:spPr>
      </p:pic>
      <p:sp>
        <p:nvSpPr>
          <p:cNvPr id="4" name="Rectangle 11">
            <a:extLst>
              <a:ext uri="{FF2B5EF4-FFF2-40B4-BE49-F238E27FC236}">
                <a16:creationId xmlns:a16="http://schemas.microsoft.com/office/drawing/2014/main" id="{B1FBAB8D-ED30-3B48-8297-527F183AE8A9}"/>
              </a:ext>
            </a:extLst>
          </p:cNvPr>
          <p:cNvSpPr>
            <a:spLocks noChangeArrowheads="1"/>
          </p:cNvSpPr>
          <p:nvPr userDrawn="1"/>
        </p:nvSpPr>
        <p:spPr bwMode="auto">
          <a:xfrm>
            <a:off x="0" y="1431709100"/>
            <a:ext cx="94027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100" b="0" i="1" u="none" strike="noStrike" cap="none" normalizeH="0" baseline="0">
                <a:ln>
                  <a:noFill/>
                </a:ln>
                <a:solidFill>
                  <a:schemeClr val="tx1"/>
                </a:solidFill>
                <a:effectLst/>
                <a:latin typeface="Arial" panose="020B0604020202020204" pitchFamily="34" charset="0"/>
              </a:rPr>
              <a:t>Digitalization is the key to next-level mobility, and a significant driver to meeting the sustainability goals of the future. How? By combining smart rail infrastructure, smart stations, smart service and future-proof trains, we achieve better punctuality and fewer cancellations with availability rates of up to 99% and more. With the integration of MaaS solutions, we also make mainline and public transport more attractive for passengers, enabling a smooth travel experience from the first to the last mile. Connecting the real with the digital world simply delivers better performance, more flexibility and greater sustainability.</a:t>
            </a:r>
            <a:endParaRPr kumimoji="0" lang="de-DE" altLang="de-DE" sz="10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8" name="Rectangle 12">
            <a:extLst>
              <a:ext uri="{FF2B5EF4-FFF2-40B4-BE49-F238E27FC236}">
                <a16:creationId xmlns:a16="http://schemas.microsoft.com/office/drawing/2014/main" id="{09A5EA59-D094-E74A-B540-579287B8E4A1}"/>
              </a:ext>
            </a:extLst>
          </p:cNvPr>
          <p:cNvSpPr>
            <a:spLocks noChangeArrowheads="1"/>
          </p:cNvSpPr>
          <p:nvPr userDrawn="1"/>
        </p:nvSpPr>
        <p:spPr bwMode="auto">
          <a:xfrm>
            <a:off x="0" y="1445117125"/>
            <a:ext cx="1007903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100" b="0" i="0" u="none" strike="noStrike" cap="none" normalizeH="0" baseline="0">
                <a:ln>
                  <a:noFill/>
                </a:ln>
                <a:solidFill>
                  <a:schemeClr val="tx1"/>
                </a:solidFill>
                <a:effectLst/>
                <a:latin typeface="Arial" panose="020B0604020202020204" pitchFamily="34" charset="0"/>
              </a:rPr>
            </a:b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6" name="Rectangle 13">
            <a:extLst>
              <a:ext uri="{FF2B5EF4-FFF2-40B4-BE49-F238E27FC236}">
                <a16:creationId xmlns:a16="http://schemas.microsoft.com/office/drawing/2014/main" id="{E2FB6AA0-DF65-064B-B2B0-EB72AE3CBD5E}"/>
              </a:ext>
            </a:extLst>
          </p:cNvPr>
          <p:cNvSpPr>
            <a:spLocks noChangeArrowheads="1"/>
          </p:cNvSpPr>
          <p:nvPr userDrawn="1"/>
        </p:nvSpPr>
        <p:spPr bwMode="auto">
          <a:xfrm>
            <a:off x="152400" y="1431861500"/>
            <a:ext cx="94027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100" b="0" i="1" u="none" strike="noStrike" cap="none" normalizeH="0" baseline="0">
                <a:ln>
                  <a:noFill/>
                </a:ln>
                <a:solidFill>
                  <a:schemeClr val="tx1"/>
                </a:solidFill>
                <a:effectLst/>
                <a:latin typeface="Arial" panose="020B0604020202020204" pitchFamily="34" charset="0"/>
              </a:rPr>
              <a:t>Digitalization is the key to next-level mobility, and a significant driver to meeting the sustainability goals of the future. How? By combining smart rail infrastructure, smart stations, smart service and future-proof trains, we achieve better punctuality and fewer cancellations with availability rates of up to 99% and more. With the integration of MaaS solutions, we also make mainline and public transport more attractive for passengers, enabling a smooth travel experience from the first to the last mile. Connecting the real with the digital world simply delivers better performance, more flexibility and greater sustainability.</a:t>
            </a:r>
            <a:endParaRPr kumimoji="0" lang="de-DE" altLang="de-DE" sz="10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17" name="Rectangle 14">
            <a:extLst>
              <a:ext uri="{FF2B5EF4-FFF2-40B4-BE49-F238E27FC236}">
                <a16:creationId xmlns:a16="http://schemas.microsoft.com/office/drawing/2014/main" id="{D355DC86-E8F1-DF4C-9C7E-96DA466EC2DE}"/>
              </a:ext>
            </a:extLst>
          </p:cNvPr>
          <p:cNvSpPr>
            <a:spLocks noChangeArrowheads="1"/>
          </p:cNvSpPr>
          <p:nvPr userDrawn="1"/>
        </p:nvSpPr>
        <p:spPr bwMode="auto">
          <a:xfrm>
            <a:off x="152400" y="1445269525"/>
            <a:ext cx="1007903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de-DE" altLang="de-DE" sz="1100" b="0" i="0" u="none" strike="noStrike" cap="none" normalizeH="0" baseline="0">
                <a:ln>
                  <a:noFill/>
                </a:ln>
                <a:solidFill>
                  <a:schemeClr val="tx1"/>
                </a:solidFill>
                <a:effectLst/>
                <a:latin typeface="Arial" panose="020B0604020202020204" pitchFamily="34" charset="0"/>
              </a:rPr>
            </a:br>
            <a:endParaRPr kumimoji="0" lang="de-DE" alt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95423736"/>
      </p:ext>
    </p:extLst>
  </p:cSld>
  <p:clrMapOvr>
    <a:masterClrMapping/>
  </p:clrMapOvr>
  <p:extLst>
    <p:ext uri="{DCECCB84-F9BA-43D5-87BE-67443E8EF086}">
      <p15:sldGuideLst xmlns:p15="http://schemas.microsoft.com/office/powerpoint/2012/main">
        <p15:guide id="2" pos="4475">
          <p15:clr>
            <a:srgbClr val="65CEFF"/>
          </p15:clr>
        </p15:guide>
        <p15:guide id="3" pos="4794">
          <p15:clr>
            <a:srgbClr val="65CEFF"/>
          </p15:clr>
        </p15:guide>
        <p15:guide id="4" pos="5066">
          <p15:clr>
            <a:srgbClr val="65CEFF"/>
          </p15:clr>
        </p15:guide>
        <p15:guide id="5" pos="6448">
          <p15:clr>
            <a:srgbClr val="65CEFF"/>
          </p15:clr>
        </p15:guide>
        <p15:guide id="6" pos="7425">
          <p15:clr>
            <a:srgbClr val="65CEFF"/>
          </p15:clr>
        </p15:guide>
        <p15:guide id="7" orient="horz" pos="302">
          <p15:clr>
            <a:srgbClr val="65CEFF"/>
          </p15:clr>
        </p15:guide>
        <p15:guide id="8" orient="horz" pos="664">
          <p15:clr>
            <a:srgbClr val="65CEFF"/>
          </p15:clr>
        </p15:guide>
        <p15:guide id="9" orient="horz" pos="891">
          <p15:clr>
            <a:srgbClr val="65CEFF"/>
          </p15:clr>
        </p15:guide>
        <p15:guide id="10" orient="horz" pos="3658">
          <p15:clr>
            <a:srgbClr val="65CEFF"/>
          </p15:clr>
        </p15:guide>
        <p15:guide id="11" orient="horz" pos="3885">
          <p15:clr>
            <a:srgbClr val="65CEFF"/>
          </p15:clr>
        </p15:guide>
        <p15:guide id="12"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516AE4-5AB3-4EF5-8BB5-537C810DC618}"/>
              </a:ext>
            </a:extLst>
          </p:cNvPr>
          <p:cNvGraphicFramePr>
            <a:graphicFrameLocks noChangeAspect="1"/>
          </p:cNvGraphicFramePr>
          <p:nvPr userDrawn="1">
            <p:custDataLst>
              <p:tags r:id="rId1"/>
            </p:custDataLst>
            <p:extLst>
              <p:ext uri="{D42A27DB-BD31-4B8C-83A1-F6EECF244321}">
                <p14:modId xmlns:p14="http://schemas.microsoft.com/office/powerpoint/2010/main" val="330392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80516AE4-5AB3-4EF5-8BB5-537C810DC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vert="horz"/>
          <a:lstStyle>
            <a:lvl1pPr rtl="0">
              <a:defRPr/>
            </a:lvl1pPr>
          </a:lstStyle>
          <a:p>
            <a:r>
              <a:rPr lang="en-US"/>
              <a:t>Mastertitelformat bearbeiten</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130CD3-614F-4481-8389-E1C287E4E233}"/>
              </a:ext>
            </a:extLst>
          </p:cNvPr>
          <p:cNvGraphicFramePr>
            <a:graphicFrameLocks noChangeAspect="1"/>
          </p:cNvGraphicFramePr>
          <p:nvPr userDrawn="1">
            <p:custDataLst>
              <p:tags r:id="rId1"/>
            </p:custDataLst>
            <p:extLst>
              <p:ext uri="{D42A27DB-BD31-4B8C-83A1-F6EECF244321}">
                <p14:modId xmlns:p14="http://schemas.microsoft.com/office/powerpoint/2010/main" val="3138744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99130CD3-614F-4481-8389-E1C287E4E2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5">
              <a:extLst>
                <a:ext uri="{96DAC541-7B7A-43D3-8B79-37D633B846F1}">
                  <asvg:svgBlip xmlns:asvg="http://schemas.microsoft.com/office/drawing/2016/SVG/main" r:embed="rId6"/>
                </a:ext>
              </a:extLst>
            </a:blip>
            <a:srcRect/>
            <a:stretch>
              <a:fillRect/>
            </a:stretch>
          </a:blipFill>
        </p:spPr>
        <p:txBody>
          <a:bodyPr vert="horz" rIns="0" bIns="0" anchor="t">
            <a:spAutoFit/>
          </a:bodyPr>
          <a:lstStyle>
            <a:lvl1pPr marL="270000" rtl="0">
              <a:lnSpc>
                <a:spcPct val="100000"/>
              </a:lnSpc>
              <a:defRPr sz="4000">
                <a:solidFill>
                  <a:schemeClr val="tx1"/>
                </a:solidFill>
              </a:defRPr>
            </a:lvl1pPr>
          </a:lstStyle>
          <a:p>
            <a:r>
              <a:rPr lang="en-US"/>
              <a:t>Click to edit </a:t>
            </a:r>
            <a:br>
              <a:rPr lang="en-US"/>
            </a:br>
            <a:r>
              <a:rPr lang="en-US"/>
              <a:t>Master title style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rtl="0">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40 </a:t>
            </a:r>
            <a:r>
              <a:rPr lang="en-US" err="1"/>
              <a:t>pt</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pic>
        <p:nvPicPr>
          <p:cNvPr id="9" name="Grafik 8">
            <a:extLst>
              <a:ext uri="{FF2B5EF4-FFF2-40B4-BE49-F238E27FC236}">
                <a16:creationId xmlns:a16="http://schemas.microsoft.com/office/drawing/2014/main" id="{220EBA91-19DB-4C48-9155-7806EB939984}"/>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1" y="0"/>
            <a:ext cx="12191999" cy="3502800"/>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C3A74F2-4ED4-4D86-9B9A-0134664510FF}"/>
              </a:ext>
            </a:extLst>
          </p:cNvPr>
          <p:cNvGraphicFramePr>
            <a:graphicFrameLocks noChangeAspect="1"/>
          </p:cNvGraphicFramePr>
          <p:nvPr userDrawn="1">
            <p:custDataLst>
              <p:tags r:id="rId1"/>
            </p:custDataLst>
            <p:extLst>
              <p:ext uri="{D42A27DB-BD31-4B8C-83A1-F6EECF244321}">
                <p14:modId xmlns:p14="http://schemas.microsoft.com/office/powerpoint/2010/main" val="17190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5C3A74F2-4ED4-4D86-9B9A-0134664510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vert="horz"/>
          <a:lstStyle>
            <a:lvl1pPr rtl="0">
              <a:defRPr/>
            </a:lvl1pPr>
          </a:lstStyle>
          <a:p>
            <a:r>
              <a:rPr lang="en-US"/>
              <a:t>Mastertitelformat bearbeiten</a:t>
            </a:r>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2E105DB-5FE4-4C86-A4F1-7031F376B237}"/>
              </a:ext>
            </a:extLst>
          </p:cNvPr>
          <p:cNvGraphicFramePr>
            <a:graphicFrameLocks noChangeAspect="1"/>
          </p:cNvGraphicFramePr>
          <p:nvPr userDrawn="1">
            <p:custDataLst>
              <p:tags r:id="rId1"/>
            </p:custDataLst>
            <p:extLst>
              <p:ext uri="{D42A27DB-BD31-4B8C-83A1-F6EECF244321}">
                <p14:modId xmlns:p14="http://schemas.microsoft.com/office/powerpoint/2010/main" val="3822374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12E105DB-5FE4-4C86-A4F1-7031F376B2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vert="horz"/>
          <a:lstStyle>
            <a:lvl1pPr rtl="0">
              <a:defRPr/>
            </a:lvl1pPr>
          </a:lstStyle>
          <a:p>
            <a:r>
              <a:rPr lang="en-US"/>
              <a:t>Master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C7B51E-CB6D-419B-917E-0FD903A78517}"/>
              </a:ext>
            </a:extLst>
          </p:cNvPr>
          <p:cNvGraphicFramePr>
            <a:graphicFrameLocks noChangeAspect="1"/>
          </p:cNvGraphicFramePr>
          <p:nvPr userDrawn="1">
            <p:custDataLst>
              <p:tags r:id="rId1"/>
            </p:custDataLst>
            <p:extLst>
              <p:ext uri="{D42A27DB-BD31-4B8C-83A1-F6EECF244321}">
                <p14:modId xmlns:p14="http://schemas.microsoft.com/office/powerpoint/2010/main" val="3775949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33C7B51E-CB6D-419B-917E-0FD903A785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vert="horz"/>
          <a:lstStyle>
            <a:lvl1pPr rtl="0">
              <a:defRPr/>
            </a:lvl1pPr>
          </a:lstStyle>
          <a:p>
            <a:r>
              <a:rPr lang="en-US"/>
              <a:t>Master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114DE73-79D8-4929-88CE-0336CC678A2C}"/>
              </a:ext>
            </a:extLst>
          </p:cNvPr>
          <p:cNvGraphicFramePr>
            <a:graphicFrameLocks noChangeAspect="1"/>
          </p:cNvGraphicFramePr>
          <p:nvPr userDrawn="1">
            <p:custDataLst>
              <p:tags r:id="rId1"/>
            </p:custDataLst>
            <p:extLst>
              <p:ext uri="{D42A27DB-BD31-4B8C-83A1-F6EECF244321}">
                <p14:modId xmlns:p14="http://schemas.microsoft.com/office/powerpoint/2010/main" val="177900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2114DE73-79D8-4929-88CE-0336CC678A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vert="horz"/>
          <a:lstStyle>
            <a:lvl1pPr rtl="0">
              <a:defRPr/>
            </a:lvl1pPr>
          </a:lstStyle>
          <a:p>
            <a:r>
              <a:rPr lang="en-US"/>
              <a:t>Mastertitelformat bearbeiten</a:t>
            </a:r>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rtl="0">
              <a:defRPr sz="1600"/>
            </a:lvl1pPr>
            <a:lvl2pPr rtl="0">
              <a:defRPr sz="1600"/>
            </a:lvl2pPr>
            <a:lvl3pPr rtl="0">
              <a:defRPr sz="1600"/>
            </a:lvl3pPr>
            <a:lvl4pPr rtl="0">
              <a:defRPr sz="1600"/>
            </a:lvl4pPr>
            <a:lvl5pPr rtl="0">
              <a:defRPr sz="1600"/>
            </a:lvl5pPr>
            <a:lvl6pPr>
              <a:defRPr sz="1600"/>
            </a:lvl6pPr>
            <a:lvl7pPr>
              <a:defRPr sz="1600"/>
            </a:lvl7pPr>
            <a:lvl8pPr>
              <a:defRPr sz="1600"/>
            </a:lvl8pPr>
            <a:lvl9pPr>
              <a:defRPr sz="1600"/>
            </a:lvl9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CAB292-C459-4D9A-8B65-9DF0785A39BF}"/>
              </a:ext>
            </a:extLst>
          </p:cNvPr>
          <p:cNvGraphicFramePr>
            <a:graphicFrameLocks noChangeAspect="1"/>
          </p:cNvGraphicFramePr>
          <p:nvPr userDrawn="1">
            <p:custDataLst>
              <p:tags r:id="rId1"/>
            </p:custDataLst>
            <p:extLst>
              <p:ext uri="{D42A27DB-BD31-4B8C-83A1-F6EECF244321}">
                <p14:modId xmlns:p14="http://schemas.microsoft.com/office/powerpoint/2010/main" val="1783484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F6CAB292-C459-4D9A-8B65-9DF0785A39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vert="horz"/>
          <a:lstStyle>
            <a:lvl1pPr rtl="0">
              <a:defRPr/>
            </a:lvl1pPr>
          </a:lstStyle>
          <a:p>
            <a:r>
              <a:rPr lang="en-US"/>
              <a:t>Mastertitelformat bearbeiten</a:t>
            </a:r>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lvl1pPr rtl="0">
              <a:defRPr/>
            </a:lvl1pPr>
          </a:lstStyle>
          <a:p>
            <a:r>
              <a:rPr lang="en-US"/>
              <a:t>Bild durch Klicken auf Symbol hinzufügen</a:t>
            </a:r>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64AA76-66E5-4566-971B-07BFDF9B4FEF}"/>
              </a:ext>
            </a:extLst>
          </p:cNvPr>
          <p:cNvGraphicFramePr>
            <a:graphicFrameLocks noChangeAspect="1"/>
          </p:cNvGraphicFramePr>
          <p:nvPr userDrawn="1">
            <p:custDataLst>
              <p:tags r:id="rId1"/>
            </p:custDataLst>
            <p:extLst>
              <p:ext uri="{D42A27DB-BD31-4B8C-83A1-F6EECF244321}">
                <p14:modId xmlns:p14="http://schemas.microsoft.com/office/powerpoint/2010/main" val="1558502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8364AA76-66E5-4566-971B-07BFDF9B4F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vert="horz"/>
          <a:lstStyle>
            <a:lvl1pPr rtl="0">
              <a:defRPr/>
            </a:lvl1pPr>
          </a:lstStyle>
          <a:p>
            <a:r>
              <a:rPr lang="en-US"/>
              <a:t>Mastertitelformat bearbeiten</a:t>
            </a:r>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lvl1pPr rtl="0">
              <a:defRPr/>
            </a:lvl1pPr>
          </a:lstStyle>
          <a:p>
            <a:r>
              <a:rPr lang="en-US"/>
              <a:t>Bild durch Klicken auf Symbol hinzufügen</a:t>
            </a:r>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US" err="1"/>
              <a:t>Mastertextformat</a:t>
            </a:r>
            <a:r>
              <a:rPr lang="en-US"/>
              <a:t> </a:t>
            </a:r>
            <a:r>
              <a:rPr lang="en-US" err="1"/>
              <a:t>bearbeiten</a:t>
            </a:r>
            <a:endParaRPr lang="en-US"/>
          </a:p>
          <a:p>
            <a:pPr lvl="1"/>
            <a:r>
              <a:rPr lang="en-US" err="1"/>
              <a:t>Zweite</a:t>
            </a:r>
            <a:r>
              <a:rPr lang="en-US"/>
              <a:t> Ebene</a:t>
            </a:r>
          </a:p>
          <a:p>
            <a:pPr lvl="2"/>
            <a:r>
              <a:rPr lang="en-US" err="1"/>
              <a:t>Dritte</a:t>
            </a:r>
            <a:r>
              <a:rPr lang="en-US"/>
              <a:t> Ebene</a:t>
            </a:r>
          </a:p>
          <a:p>
            <a:pPr lvl="3"/>
            <a:r>
              <a:rPr lang="en-US" err="1"/>
              <a:t>Vierte</a:t>
            </a:r>
            <a:r>
              <a:rPr lang="en-US"/>
              <a:t> Ebene</a:t>
            </a:r>
          </a:p>
          <a:p>
            <a:pPr lvl="4"/>
            <a:r>
              <a:rPr lang="en-US" err="1"/>
              <a:t>Fünfte</a:t>
            </a:r>
            <a:r>
              <a:rPr lang="en-US"/>
              <a:t> Ebene</a:t>
            </a:r>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809D6C3-BE1D-4384-A7A0-16232E2E2196}"/>
              </a:ext>
            </a:extLst>
          </p:cNvPr>
          <p:cNvGraphicFramePr>
            <a:graphicFrameLocks noChangeAspect="1"/>
          </p:cNvGraphicFramePr>
          <p:nvPr userDrawn="1">
            <p:custDataLst>
              <p:tags r:id="rId1"/>
            </p:custDataLst>
            <p:extLst>
              <p:ext uri="{D42A27DB-BD31-4B8C-83A1-F6EECF244321}">
                <p14:modId xmlns:p14="http://schemas.microsoft.com/office/powerpoint/2010/main" val="248174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E809D6C3-BE1D-4384-A7A0-16232E2E21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vert="horz"/>
          <a:lstStyle>
            <a:lvl1pPr rtl="0">
              <a:defRPr>
                <a:solidFill>
                  <a:schemeClr val="accent1"/>
                </a:solidFill>
              </a:defRPr>
            </a:lvl1pPr>
          </a:lstStyle>
          <a:p>
            <a:r>
              <a:rPr lang="en-US"/>
              <a:t>Mastertitelformat bearbeiten</a:t>
            </a:r>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lvl1pPr rtl="0">
              <a:defRPr/>
            </a:lvl1pPr>
          </a:lstStyle>
          <a:p>
            <a:r>
              <a:rPr lang="en-US"/>
              <a:t>Tabelle durch Klicken auf Symbol hinzufügen</a:t>
            </a:r>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flow">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60CCCC-AA2C-40AA-9C18-4EFD05C54C12}"/>
              </a:ext>
            </a:extLst>
          </p:cNvPr>
          <p:cNvGraphicFramePr>
            <a:graphicFrameLocks noChangeAspect="1"/>
          </p:cNvGraphicFramePr>
          <p:nvPr userDrawn="1">
            <p:custDataLst>
              <p:tags r:id="rId1"/>
            </p:custDataLst>
            <p:extLst>
              <p:ext uri="{D42A27DB-BD31-4B8C-83A1-F6EECF244321}">
                <p14:modId xmlns:p14="http://schemas.microsoft.com/office/powerpoint/2010/main" val="265034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C460CCCC-AA2C-40AA-9C18-4EFD05C54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9F2A455C-53B1-4792-8EA9-F00926C48E39}"/>
              </a:ext>
            </a:extLst>
          </p:cNvPr>
          <p:cNvSpPr>
            <a:spLocks noGrp="1"/>
          </p:cNvSpPr>
          <p:nvPr>
            <p:ph type="title" hasCustomPrompt="1"/>
          </p:nvPr>
        </p:nvSpPr>
        <p:spPr/>
        <p:txBody>
          <a:bodyPr vert="horz"/>
          <a:lstStyle>
            <a:lvl1pPr rtl="0">
              <a:defRPr>
                <a:solidFill>
                  <a:schemeClr val="accent1"/>
                </a:solidFill>
              </a:defRPr>
            </a:lvl1pPr>
          </a:lstStyle>
          <a:p>
            <a:r>
              <a:rPr lang="en-US"/>
              <a:t>KPI Slide</a:t>
            </a:r>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a:xfrm>
            <a:off x="2930264" y="6560219"/>
            <a:ext cx="648000" cy="227700"/>
          </a:xfrm>
          <a:prstGeom prst="rect">
            <a:avLst/>
          </a:prstGeom>
        </p:spPr>
        <p:txBody>
          <a:bodyPr/>
          <a:lstStyle>
            <a:lvl1pPr rtl="0">
              <a:defRPr>
                <a:solidFill>
                  <a:schemeClr val="bg1"/>
                </a:solidFill>
              </a:defRPr>
            </a:lvl1pPr>
          </a:lstStyle>
          <a:p>
            <a:r>
              <a:rPr lang="en-US"/>
              <a:t>Page </a:t>
            </a:r>
            <a:fld id="{15EBE321-CBB1-4E91-BD14-37C8D44326FB}" type="slidenum">
              <a:rPr lang="en-US" smtClean="0"/>
              <a:pPr/>
              <a:t>‹Nr.›</a:t>
            </a:fld>
            <a:endParaRPr lang="en-US"/>
          </a:p>
        </p:txBody>
      </p:sp>
      <p:pic>
        <p:nvPicPr>
          <p:cNvPr id="12" name="Siemens Logo">
            <a:extLst>
              <a:ext uri="{FF2B5EF4-FFF2-40B4-BE49-F238E27FC236}">
                <a16:creationId xmlns:a16="http://schemas.microsoft.com/office/drawing/2014/main" id="{11638535-7752-4F1A-868E-EB11FB0BBA6B}"/>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
        <p:nvSpPr>
          <p:cNvPr id="14" name="Bildplatzhalter 13">
            <a:extLst>
              <a:ext uri="{FF2B5EF4-FFF2-40B4-BE49-F238E27FC236}">
                <a16:creationId xmlns:a16="http://schemas.microsoft.com/office/drawing/2014/main" id="{500D5D0B-D183-DF43-82FD-75F0328989A8}"/>
              </a:ext>
            </a:extLst>
          </p:cNvPr>
          <p:cNvSpPr>
            <a:spLocks noGrp="1"/>
          </p:cNvSpPr>
          <p:nvPr>
            <p:ph type="pic" sz="quarter" idx="17" hasCustomPrompt="1"/>
          </p:nvPr>
        </p:nvSpPr>
        <p:spPr>
          <a:xfrm>
            <a:off x="768350" y="1441452"/>
            <a:ext cx="2878138" cy="2686126"/>
          </a:xfrm>
        </p:spPr>
        <p:txBody>
          <a:bodyPr/>
          <a:lstStyle>
            <a:lvl1pPr>
              <a:defRPr>
                <a:solidFill>
                  <a:schemeClr val="tx2">
                    <a:lumMod val="90000"/>
                  </a:schemeClr>
                </a:solidFill>
              </a:defRPr>
            </a:lvl1pPr>
          </a:lstStyle>
          <a:p>
            <a:r>
              <a:rPr lang="de-DE"/>
              <a:t>Insert Icon </a:t>
            </a:r>
            <a:r>
              <a:rPr lang="de-DE" err="1"/>
              <a:t>here</a:t>
            </a:r>
            <a:endParaRPr lang="de-DE"/>
          </a:p>
        </p:txBody>
      </p:sp>
      <p:sp>
        <p:nvSpPr>
          <p:cNvPr id="19" name="Rechteck 18">
            <a:extLst>
              <a:ext uri="{FF2B5EF4-FFF2-40B4-BE49-F238E27FC236}">
                <a16:creationId xmlns:a16="http://schemas.microsoft.com/office/drawing/2014/main" id="{786F9C31-F038-324A-96AB-2BA0A9A8C95E}"/>
              </a:ext>
            </a:extLst>
          </p:cNvPr>
          <p:cNvSpPr/>
          <p:nvPr userDrawn="1"/>
        </p:nvSpPr>
        <p:spPr>
          <a:xfrm>
            <a:off x="768350" y="4314056"/>
            <a:ext cx="2878138" cy="1522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18" name="Textplatzhalter 17">
            <a:extLst>
              <a:ext uri="{FF2B5EF4-FFF2-40B4-BE49-F238E27FC236}">
                <a16:creationId xmlns:a16="http://schemas.microsoft.com/office/drawing/2014/main" id="{4E952F57-69BD-8E48-95AD-D41C13F4A327}"/>
              </a:ext>
            </a:extLst>
          </p:cNvPr>
          <p:cNvSpPr>
            <a:spLocks noGrp="1"/>
          </p:cNvSpPr>
          <p:nvPr>
            <p:ph type="body" sz="quarter" idx="20" hasCustomPrompt="1"/>
          </p:nvPr>
        </p:nvSpPr>
        <p:spPr>
          <a:xfrm>
            <a:off x="1045336" y="4777888"/>
            <a:ext cx="2310341" cy="1028861"/>
          </a:xfrm>
        </p:spPr>
        <p:txBody>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Feel free to add 4 lines of text and don’t go smaller than Arial size 14 to keep a consistent look and feel.</a:t>
            </a:r>
          </a:p>
        </p:txBody>
      </p:sp>
      <p:sp>
        <p:nvSpPr>
          <p:cNvPr id="25" name="Bildplatzhalter 13">
            <a:extLst>
              <a:ext uri="{FF2B5EF4-FFF2-40B4-BE49-F238E27FC236}">
                <a16:creationId xmlns:a16="http://schemas.microsoft.com/office/drawing/2014/main" id="{C824B82C-F9A2-6643-92F5-1549CA0D96DE}"/>
              </a:ext>
            </a:extLst>
          </p:cNvPr>
          <p:cNvSpPr>
            <a:spLocks noGrp="1"/>
          </p:cNvSpPr>
          <p:nvPr>
            <p:ph type="pic" sz="quarter" idx="23" hasCustomPrompt="1"/>
          </p:nvPr>
        </p:nvSpPr>
        <p:spPr>
          <a:xfrm>
            <a:off x="4653506" y="1475832"/>
            <a:ext cx="2878138" cy="2686126"/>
          </a:xfrm>
        </p:spPr>
        <p:txBody>
          <a:bodyPr/>
          <a:lstStyle>
            <a:lvl1pPr marL="0" marR="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solidFill>
                  <a:schemeClr val="tx2">
                    <a:lumMod val="90000"/>
                  </a:schemeClr>
                </a:solidFill>
              </a:defRPr>
            </a:lvl1pPr>
          </a:lstStyle>
          <a:p>
            <a:pPr marL="0" marR="0" lvl="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pPr>
            <a:r>
              <a:rPr lang="de-DE"/>
              <a:t>Insert Icon </a:t>
            </a:r>
            <a:r>
              <a:rPr lang="de-DE" err="1"/>
              <a:t>here</a:t>
            </a:r>
            <a:endParaRPr lang="de-DE"/>
          </a:p>
          <a:p>
            <a:endParaRPr lang="de-DE"/>
          </a:p>
        </p:txBody>
      </p:sp>
      <p:sp>
        <p:nvSpPr>
          <p:cNvPr id="27" name="Bildplatzhalter 13">
            <a:extLst>
              <a:ext uri="{FF2B5EF4-FFF2-40B4-BE49-F238E27FC236}">
                <a16:creationId xmlns:a16="http://schemas.microsoft.com/office/drawing/2014/main" id="{B08D48F8-0E66-EF41-934C-05C4F2147857}"/>
              </a:ext>
            </a:extLst>
          </p:cNvPr>
          <p:cNvSpPr>
            <a:spLocks noGrp="1"/>
          </p:cNvSpPr>
          <p:nvPr>
            <p:ph type="pic" sz="quarter" idx="24" hasCustomPrompt="1"/>
          </p:nvPr>
        </p:nvSpPr>
        <p:spPr>
          <a:xfrm>
            <a:off x="8538662" y="1475832"/>
            <a:ext cx="2878138" cy="2686126"/>
          </a:xfrm>
        </p:spPr>
        <p:txBody>
          <a:bodyPr/>
          <a:lstStyle>
            <a:lvl1pPr marL="0" marR="0" indent="0" algn="l" defTabSz="914400" rtl="0" eaLnBrk="1" fontAlgn="auto" latinLnBrk="0" hangingPunct="1">
              <a:lnSpc>
                <a:spcPct val="110000"/>
              </a:lnSpc>
              <a:spcBef>
                <a:spcPts val="0"/>
              </a:spcBef>
              <a:spcAft>
                <a:spcPts val="300"/>
              </a:spcAft>
              <a:buClrTx/>
              <a:buSzTx/>
              <a:buFont typeface="Arial" panose="020B0604020202020204" pitchFamily="34" charset="0"/>
              <a:buNone/>
              <a:tabLst/>
              <a:defRPr>
                <a:solidFill>
                  <a:schemeClr val="tx2">
                    <a:lumMod val="90000"/>
                  </a:schemeClr>
                </a:solidFill>
              </a:defRPr>
            </a:lvl1pPr>
          </a:lstStyle>
          <a:p>
            <a:r>
              <a:rPr lang="de-DE"/>
              <a:t>Insert Icon </a:t>
            </a:r>
            <a:r>
              <a:rPr lang="de-DE" err="1"/>
              <a:t>here</a:t>
            </a:r>
            <a:endParaRPr lang="de-DE"/>
          </a:p>
          <a:p>
            <a:endParaRPr lang="de-DE"/>
          </a:p>
        </p:txBody>
      </p:sp>
      <p:sp>
        <p:nvSpPr>
          <p:cNvPr id="17" name="Textfeld 16">
            <a:extLst>
              <a:ext uri="{FF2B5EF4-FFF2-40B4-BE49-F238E27FC236}">
                <a16:creationId xmlns:a16="http://schemas.microsoft.com/office/drawing/2014/main" id="{965065E9-006A-7F49-B64D-7DF146F26C0B}"/>
              </a:ext>
            </a:extLst>
          </p:cNvPr>
          <p:cNvSpPr txBox="1"/>
          <p:nvPr userDrawn="1"/>
        </p:nvSpPr>
        <p:spPr>
          <a:xfrm>
            <a:off x="410400" y="6581001"/>
            <a:ext cx="2499082" cy="138499"/>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rPr>
              <a:t>Unrestricted | © Siemens 2022 | InnoTrans 2022</a:t>
            </a:r>
            <a:endParaRPr kumimoji="0" lang="de-DE" sz="900" b="0" i="0" u="none" strike="noStrike" kern="0" cap="none" spc="0" normalizeH="0" baseline="0" noProof="0" err="1">
              <a:ln>
                <a:noFill/>
              </a:ln>
              <a:solidFill>
                <a:srgbClr val="000000"/>
              </a:solidFill>
              <a:effectLst/>
              <a:uLnTx/>
              <a:uFillTx/>
            </a:endParaRPr>
          </a:p>
        </p:txBody>
      </p:sp>
      <p:sp>
        <p:nvSpPr>
          <p:cNvPr id="16" name="Textplatzhalter 17">
            <a:extLst>
              <a:ext uri="{FF2B5EF4-FFF2-40B4-BE49-F238E27FC236}">
                <a16:creationId xmlns:a16="http://schemas.microsoft.com/office/drawing/2014/main" id="{E5D0FCE3-FC96-B64F-B5BB-E636C04898C9}"/>
              </a:ext>
            </a:extLst>
          </p:cNvPr>
          <p:cNvSpPr>
            <a:spLocks noGrp="1"/>
          </p:cNvSpPr>
          <p:nvPr>
            <p:ph type="body" sz="quarter" idx="25" hasCustomPrompt="1"/>
          </p:nvPr>
        </p:nvSpPr>
        <p:spPr>
          <a:xfrm>
            <a:off x="1045337" y="4443206"/>
            <a:ext cx="2310341" cy="218736"/>
          </a:xfrm>
        </p:spPr>
        <p:txBody>
          <a:bodyPr/>
          <a:lstStyle>
            <a:lvl1pPr>
              <a:defRPr sz="14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Title</a:t>
            </a:r>
          </a:p>
        </p:txBody>
      </p:sp>
      <p:sp>
        <p:nvSpPr>
          <p:cNvPr id="24" name="Rechteck 23">
            <a:extLst>
              <a:ext uri="{FF2B5EF4-FFF2-40B4-BE49-F238E27FC236}">
                <a16:creationId xmlns:a16="http://schemas.microsoft.com/office/drawing/2014/main" id="{A1F1BF29-D221-EC49-83C6-EAB98323375B}"/>
              </a:ext>
            </a:extLst>
          </p:cNvPr>
          <p:cNvSpPr/>
          <p:nvPr userDrawn="1"/>
        </p:nvSpPr>
        <p:spPr>
          <a:xfrm>
            <a:off x="4653506" y="4316247"/>
            <a:ext cx="2878138" cy="1522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26" name="Textplatzhalter 17">
            <a:extLst>
              <a:ext uri="{FF2B5EF4-FFF2-40B4-BE49-F238E27FC236}">
                <a16:creationId xmlns:a16="http://schemas.microsoft.com/office/drawing/2014/main" id="{BDF858EC-DC98-F540-8532-4BBF209DED26}"/>
              </a:ext>
            </a:extLst>
          </p:cNvPr>
          <p:cNvSpPr>
            <a:spLocks noGrp="1"/>
          </p:cNvSpPr>
          <p:nvPr>
            <p:ph type="body" sz="quarter" idx="26" hasCustomPrompt="1"/>
          </p:nvPr>
        </p:nvSpPr>
        <p:spPr>
          <a:xfrm>
            <a:off x="4930492" y="4780079"/>
            <a:ext cx="2310341" cy="1028861"/>
          </a:xfrm>
        </p:spPr>
        <p:txBody>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Feel free to add 4 lines of text and don’t go smaller than Arial size 14 to keep a consistent look and feel.</a:t>
            </a:r>
          </a:p>
        </p:txBody>
      </p:sp>
      <p:sp>
        <p:nvSpPr>
          <p:cNvPr id="28" name="Textplatzhalter 17">
            <a:extLst>
              <a:ext uri="{FF2B5EF4-FFF2-40B4-BE49-F238E27FC236}">
                <a16:creationId xmlns:a16="http://schemas.microsoft.com/office/drawing/2014/main" id="{5578CC78-5733-424B-8879-F95765220B37}"/>
              </a:ext>
            </a:extLst>
          </p:cNvPr>
          <p:cNvSpPr>
            <a:spLocks noGrp="1"/>
          </p:cNvSpPr>
          <p:nvPr>
            <p:ph type="body" sz="quarter" idx="27" hasCustomPrompt="1"/>
          </p:nvPr>
        </p:nvSpPr>
        <p:spPr>
          <a:xfrm>
            <a:off x="4930493" y="4445397"/>
            <a:ext cx="2310341" cy="218736"/>
          </a:xfrm>
        </p:spPr>
        <p:txBody>
          <a:bodyPr/>
          <a:lstStyle>
            <a:lvl1pPr>
              <a:defRPr sz="14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Title</a:t>
            </a:r>
          </a:p>
        </p:txBody>
      </p:sp>
      <p:sp>
        <p:nvSpPr>
          <p:cNvPr id="29" name="Rechteck 28">
            <a:extLst>
              <a:ext uri="{FF2B5EF4-FFF2-40B4-BE49-F238E27FC236}">
                <a16:creationId xmlns:a16="http://schemas.microsoft.com/office/drawing/2014/main" id="{49424C75-5E83-604D-82FE-63DEB8F32E03}"/>
              </a:ext>
            </a:extLst>
          </p:cNvPr>
          <p:cNvSpPr/>
          <p:nvPr userDrawn="1"/>
        </p:nvSpPr>
        <p:spPr>
          <a:xfrm>
            <a:off x="8538662" y="4314056"/>
            <a:ext cx="2878138" cy="15224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30" name="Textplatzhalter 17">
            <a:extLst>
              <a:ext uri="{FF2B5EF4-FFF2-40B4-BE49-F238E27FC236}">
                <a16:creationId xmlns:a16="http://schemas.microsoft.com/office/drawing/2014/main" id="{F2A84179-E27C-C046-BCCD-BEDE9CF79209}"/>
              </a:ext>
            </a:extLst>
          </p:cNvPr>
          <p:cNvSpPr>
            <a:spLocks noGrp="1"/>
          </p:cNvSpPr>
          <p:nvPr>
            <p:ph type="body" sz="quarter" idx="28" hasCustomPrompt="1"/>
          </p:nvPr>
        </p:nvSpPr>
        <p:spPr>
          <a:xfrm>
            <a:off x="8815648" y="4777888"/>
            <a:ext cx="2310341" cy="1028861"/>
          </a:xfrm>
        </p:spPr>
        <p:txBody>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Feel free to add 4 lines of text and don’t go smaller than Arial size 14 to keep a consistent look and feel.</a:t>
            </a:r>
          </a:p>
        </p:txBody>
      </p:sp>
      <p:sp>
        <p:nvSpPr>
          <p:cNvPr id="31" name="Textplatzhalter 17">
            <a:extLst>
              <a:ext uri="{FF2B5EF4-FFF2-40B4-BE49-F238E27FC236}">
                <a16:creationId xmlns:a16="http://schemas.microsoft.com/office/drawing/2014/main" id="{4D553263-77AF-5048-97C9-DE2051A269E4}"/>
              </a:ext>
            </a:extLst>
          </p:cNvPr>
          <p:cNvSpPr>
            <a:spLocks noGrp="1"/>
          </p:cNvSpPr>
          <p:nvPr>
            <p:ph type="body" sz="quarter" idx="29" hasCustomPrompt="1"/>
          </p:nvPr>
        </p:nvSpPr>
        <p:spPr>
          <a:xfrm>
            <a:off x="8815649" y="4443206"/>
            <a:ext cx="2310341" cy="218736"/>
          </a:xfrm>
        </p:spPr>
        <p:txBody>
          <a:bodyPr/>
          <a:lstStyle>
            <a:lvl1pPr>
              <a:defRPr sz="14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Title</a:t>
            </a:r>
          </a:p>
        </p:txBody>
      </p:sp>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7" userDrawn="1">
          <p15:clr>
            <a:srgbClr val="65CEFF"/>
          </p15:clr>
        </p15:guide>
        <p15:guide id="2" pos="2526" userDrawn="1">
          <p15:clr>
            <a:srgbClr val="65CEFF"/>
          </p15:clr>
        </p15:guide>
        <p15:guide id="3" pos="4362"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01"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838" userDrawn="1">
          <p15:clr>
            <a:srgbClr val="65CEFF"/>
          </p15:clr>
        </p15:guide>
        <p15:guide id="12" orient="horz" pos="3906" userDrawn="1">
          <p15:clr>
            <a:srgbClr val="65CEFF"/>
          </p15:clr>
        </p15:guide>
        <p15:guide id="13" orient="horz" pos="4157" userDrawn="1">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179AC11-1B0D-4EB3-BAA1-283B562AD1FB}"/>
              </a:ext>
            </a:extLst>
          </p:cNvPr>
          <p:cNvGraphicFramePr>
            <a:graphicFrameLocks noChangeAspect="1"/>
          </p:cNvGraphicFramePr>
          <p:nvPr userDrawn="1">
            <p:custDataLst>
              <p:tags r:id="rId1"/>
            </p:custDataLst>
            <p:extLst>
              <p:ext uri="{D42A27DB-BD31-4B8C-83A1-F6EECF244321}">
                <p14:modId xmlns:p14="http://schemas.microsoft.com/office/powerpoint/2010/main" val="2668861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kt 4" hidden="1">
                        <a:extLst>
                          <a:ext uri="{FF2B5EF4-FFF2-40B4-BE49-F238E27FC236}">
                            <a16:creationId xmlns:a16="http://schemas.microsoft.com/office/drawing/2014/main" id="{5179AC11-1B0D-4EB3-BAA1-283B562AD1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rtl="0">
              <a:lnSpc>
                <a:spcPct val="110000"/>
              </a:lnSpc>
              <a:spcAft>
                <a:spcPts val="0"/>
              </a:spcAft>
              <a:defRPr sz="4800" b="0">
                <a:solidFill>
                  <a:schemeClr val="tx2"/>
                </a:solidFill>
              </a:defRPr>
            </a:lvl1pPr>
            <a:lvl2pPr marL="36000" indent="0" rtl="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a:t>Please insert quote here</a:t>
            </a:r>
          </a:p>
          <a:p>
            <a:pPr lvl="1"/>
            <a:r>
              <a:rPr lang="en-US"/>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pPr rtl="0"/>
            <a:endParaRPr lang="en-US"/>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3F452DE-83D3-424C-B79C-D273484728E6}"/>
              </a:ext>
            </a:extLst>
          </p:cNvPr>
          <p:cNvGraphicFramePr>
            <a:graphicFrameLocks noChangeAspect="1"/>
          </p:cNvGraphicFramePr>
          <p:nvPr userDrawn="1">
            <p:custDataLst>
              <p:tags r:id="rId1"/>
            </p:custDataLst>
            <p:extLst>
              <p:ext uri="{D42A27DB-BD31-4B8C-83A1-F6EECF244321}">
                <p14:modId xmlns:p14="http://schemas.microsoft.com/office/powerpoint/2010/main" val="41993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63F452DE-83D3-424C-B79C-D273484728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vert="horz" lIns="0" tIns="0" rIns="0" bIns="0" anchor="t">
            <a:noAutofit/>
          </a:bodyPr>
          <a:lstStyle>
            <a:lvl1pPr rtl="0">
              <a:lnSpc>
                <a:spcPct val="90000"/>
              </a:lnSpc>
              <a:defRPr sz="8000">
                <a:gradFill>
                  <a:gsLst>
                    <a:gs pos="0">
                      <a:schemeClr val="accent2"/>
                    </a:gs>
                    <a:gs pos="100000">
                      <a:schemeClr val="accent3"/>
                    </a:gs>
                  </a:gsLst>
                  <a:lin ang="0" scaled="1"/>
                </a:gradFill>
              </a:defRPr>
            </a:lvl1pPr>
          </a:lstStyle>
          <a:p>
            <a:r>
              <a:rPr lang="en-US"/>
              <a:t>Mastertitelformat bearbeiten</a:t>
            </a:r>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B2F7B3A-A0B8-4C3F-8841-E47A275CBE8A}"/>
              </a:ext>
            </a:extLst>
          </p:cNvPr>
          <p:cNvGraphicFramePr>
            <a:graphicFrameLocks noChangeAspect="1"/>
          </p:cNvGraphicFramePr>
          <p:nvPr userDrawn="1">
            <p:custDataLst>
              <p:tags r:id="rId1"/>
            </p:custDataLst>
            <p:extLst>
              <p:ext uri="{D42A27DB-BD31-4B8C-83A1-F6EECF244321}">
                <p14:modId xmlns:p14="http://schemas.microsoft.com/office/powerpoint/2010/main" val="318493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kt 5" hidden="1">
                        <a:extLst>
                          <a:ext uri="{FF2B5EF4-FFF2-40B4-BE49-F238E27FC236}">
                            <a16:creationId xmlns:a16="http://schemas.microsoft.com/office/drawing/2014/main" id="{3B2F7B3A-A0B8-4C3F-8841-E47A275CBE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t="-1000" b="500"/>
            </a:stretch>
          </a:blipFill>
        </p:spPr>
        <p:txBody>
          <a:bodyPr vert="horz" rIns="0" bIns="0" anchor="t">
            <a:spAutoFit/>
          </a:bodyPr>
          <a:lstStyle>
            <a:lvl1pPr marL="252000" rtl="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274400" y="6364800"/>
            <a:ext cx="1512000" cy="240408"/>
          </a:xfrm>
          <a:prstGeom prst="rect">
            <a:avLst/>
          </a:prstGeom>
        </p:spPr>
      </p:pic>
      <p:pic>
        <p:nvPicPr>
          <p:cNvPr id="9" name="Grafik 8">
            <a:extLst>
              <a:ext uri="{FF2B5EF4-FFF2-40B4-BE49-F238E27FC236}">
                <a16:creationId xmlns:a16="http://schemas.microsoft.com/office/drawing/2014/main" id="{D1747595-1396-F64A-9359-4832AE032D1F}"/>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1" y="0"/>
            <a:ext cx="12191999" cy="3502800"/>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6" userDrawn="1">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act">
    <p:bg>
      <p:bgPr>
        <a:solidFill>
          <a:schemeClr val="tx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755E2D68-563C-7540-8268-746C0D9A8A5B}"/>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0" y="-1"/>
            <a:ext cx="12192000" cy="6858001"/>
          </a:xfrm>
          <a:prstGeom prst="rect">
            <a:avLst/>
          </a:prstGeom>
        </p:spPr>
      </p:pic>
      <p:graphicFrame>
        <p:nvGraphicFramePr>
          <p:cNvPr id="2" name="Objekt 1" hidden="1">
            <a:extLst>
              <a:ext uri="{FF2B5EF4-FFF2-40B4-BE49-F238E27FC236}">
                <a16:creationId xmlns:a16="http://schemas.microsoft.com/office/drawing/2014/main" id="{B8504A49-D37A-4D6B-AE73-35D5186F7377}"/>
              </a:ext>
            </a:extLst>
          </p:cNvPr>
          <p:cNvGraphicFramePr>
            <a:graphicFrameLocks noChangeAspect="1"/>
          </p:cNvGraphicFramePr>
          <p:nvPr userDrawn="1">
            <p:custDataLst>
              <p:tags r:id="rId1"/>
            </p:custDataLst>
            <p:extLst>
              <p:ext uri="{D42A27DB-BD31-4B8C-83A1-F6EECF244321}">
                <p14:modId xmlns:p14="http://schemas.microsoft.com/office/powerpoint/2010/main" val="66789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kt 1" hidden="1">
                        <a:extLst>
                          <a:ext uri="{FF2B5EF4-FFF2-40B4-BE49-F238E27FC236}">
                            <a16:creationId xmlns:a16="http://schemas.microsoft.com/office/drawing/2014/main" id="{B8504A49-D37A-4D6B-AE73-35D5186F73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9FC2C9C1-1FE7-364B-90DB-A3D127EF02CE}"/>
              </a:ext>
            </a:extLst>
          </p:cNvPr>
          <p:cNvSpPr/>
          <p:nvPr userDrawn="1"/>
        </p:nvSpPr>
        <p:spPr>
          <a:xfrm>
            <a:off x="0" y="-1"/>
            <a:ext cx="5273458" cy="6858001"/>
          </a:xfrm>
          <a:prstGeom prst="rect">
            <a:avLst/>
          </a:prstGeom>
          <a:gradFill>
            <a:gsLst>
              <a:gs pos="11000">
                <a:schemeClr val="bg1">
                  <a:alpha val="40075"/>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pic>
        <p:nvPicPr>
          <p:cNvPr id="10" name="Siemens Logo">
            <a:extLst>
              <a:ext uri="{FF2B5EF4-FFF2-40B4-BE49-F238E27FC236}">
                <a16:creationId xmlns:a16="http://schemas.microsoft.com/office/drawing/2014/main" id="{41ACD588-C92F-4949-8874-22A1CD7865E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74400" y="6364800"/>
            <a:ext cx="1512000" cy="240408"/>
          </a:xfrm>
          <a:prstGeom prst="rect">
            <a:avLst/>
          </a:prstGeom>
        </p:spPr>
      </p:pic>
      <p:sp>
        <p:nvSpPr>
          <p:cNvPr id="11" name="Textfeld 10">
            <a:extLst>
              <a:ext uri="{FF2B5EF4-FFF2-40B4-BE49-F238E27FC236}">
                <a16:creationId xmlns:a16="http://schemas.microsoft.com/office/drawing/2014/main" id="{0996ADDE-89E3-594C-A37B-E6090495D242}"/>
              </a:ext>
            </a:extLst>
          </p:cNvPr>
          <p:cNvSpPr txBox="1"/>
          <p:nvPr userDrawn="1"/>
        </p:nvSpPr>
        <p:spPr>
          <a:xfrm>
            <a:off x="410400" y="6581001"/>
            <a:ext cx="157094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Unrestricted | © Siemens 2022</a:t>
            </a:r>
            <a:endParaRPr lang="de-DE" sz="900" dirty="0"/>
          </a:p>
        </p:txBody>
      </p:sp>
      <p:sp>
        <p:nvSpPr>
          <p:cNvPr id="13" name="Title">
            <a:extLst>
              <a:ext uri="{FF2B5EF4-FFF2-40B4-BE49-F238E27FC236}">
                <a16:creationId xmlns:a16="http://schemas.microsoft.com/office/drawing/2014/main" id="{12F47FB5-B89B-D040-B992-8A5850DC9ABC}"/>
              </a:ext>
            </a:extLst>
          </p:cNvPr>
          <p:cNvSpPr txBox="1">
            <a:spLocks/>
          </p:cNvSpPr>
          <p:nvPr userDrawn="1"/>
        </p:nvSpPr>
        <p:spPr>
          <a:xfrm>
            <a:off x="410400" y="1234799"/>
            <a:ext cx="9863237" cy="1162523"/>
          </a:xfrm>
          <a:prstGeom prst="rect">
            <a:avLst/>
          </a:prstGeom>
          <a:blipFill dpi="0" rotWithShape="1">
            <a:blip r:embed="rId8">
              <a:extLst>
                <a:ext uri="{96DAC541-7B7A-43D3-8B79-37D633B846F1}">
                  <asvg:svgBlip xmlns:asvg="http://schemas.microsoft.com/office/drawing/2016/SVG/main" r:embed="rId9"/>
                </a:ext>
              </a:extLst>
            </a:blip>
            <a:srcRect/>
            <a:stretch>
              <a:fillRect/>
            </a:stretch>
          </a:blipFill>
        </p:spPr>
        <p:txBody>
          <a:bodyPr vert="horz" wrap="square" lIns="0" tIns="54000" rIns="0" bIns="0" rtlCol="0" anchor="t" anchorCtr="0">
            <a:spAutoFit/>
          </a:bodyPr>
          <a:lstStyle>
            <a:lvl1pPr marL="540000" algn="l" defTabSz="914400" rtl="0" eaLnBrk="1" latinLnBrk="0" hangingPunct="1">
              <a:lnSpc>
                <a:spcPct val="90000"/>
              </a:lnSpc>
              <a:spcBef>
                <a:spcPct val="0"/>
              </a:spcBef>
              <a:buNone/>
              <a:defRPr sz="8000" b="1" kern="1200">
                <a:solidFill>
                  <a:schemeClr val="bg1"/>
                </a:solidFill>
                <a:latin typeface="+mj-lt"/>
                <a:ea typeface="+mj-ea"/>
                <a:cs typeface="+mj-cs"/>
              </a:defRPr>
            </a:lvl1pPr>
          </a:lstStyle>
          <a:p>
            <a:r>
              <a:rPr lang="en-US">
                <a:solidFill>
                  <a:schemeClr val="tx1"/>
                </a:solidFill>
              </a:rPr>
              <a:t>Contact</a:t>
            </a:r>
          </a:p>
        </p:txBody>
      </p:sp>
      <p:sp>
        <p:nvSpPr>
          <p:cNvPr id="14" name="Textplatzhalter 5">
            <a:extLst>
              <a:ext uri="{FF2B5EF4-FFF2-40B4-BE49-F238E27FC236}">
                <a16:creationId xmlns:a16="http://schemas.microsoft.com/office/drawing/2014/main" id="{5F8AE231-13FA-A648-B85A-B3A094001A2D}"/>
              </a:ext>
            </a:extLst>
          </p:cNvPr>
          <p:cNvSpPr>
            <a:spLocks noGrp="1"/>
          </p:cNvSpPr>
          <p:nvPr>
            <p:ph type="body" sz="quarter" idx="13" hasCustomPrompt="1"/>
          </p:nvPr>
        </p:nvSpPr>
        <p:spPr>
          <a:xfrm>
            <a:off x="989013" y="2578100"/>
            <a:ext cx="3882790" cy="3228975"/>
          </a:xfrm>
        </p:spPr>
        <p:txBody>
          <a:bodyPr/>
          <a:lstStyle>
            <a:lvl1pPr>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First </a:t>
            </a:r>
            <a:r>
              <a:rPr lang="de-DE" err="1"/>
              <a:t>name</a:t>
            </a:r>
            <a:r>
              <a:rPr lang="de-DE"/>
              <a:t> Last </a:t>
            </a:r>
            <a:r>
              <a:rPr lang="de-DE" err="1"/>
              <a:t>name</a:t>
            </a:r>
            <a:r>
              <a:rPr lang="de-DE"/>
              <a:t> </a:t>
            </a:r>
          </a:p>
          <a:p>
            <a:pPr lvl="0"/>
            <a:r>
              <a:rPr lang="de-DE"/>
              <a:t>Job title</a:t>
            </a:r>
          </a:p>
          <a:p>
            <a:pPr lvl="0"/>
            <a:r>
              <a:rPr lang="de-DE"/>
              <a:t>Group / Region / Department XY </a:t>
            </a:r>
          </a:p>
          <a:p>
            <a:pPr lvl="0"/>
            <a:r>
              <a:rPr lang="de-DE"/>
              <a:t>Street 123</a:t>
            </a:r>
          </a:p>
          <a:p>
            <a:pPr lvl="0"/>
            <a:r>
              <a:rPr lang="de-DE"/>
              <a:t>12345 City</a:t>
            </a:r>
          </a:p>
          <a:p>
            <a:pPr lvl="0"/>
            <a:r>
              <a:rPr lang="de-DE"/>
              <a:t>Country</a:t>
            </a:r>
          </a:p>
          <a:p>
            <a:pPr lvl="0"/>
            <a:endParaRPr lang="de-DE"/>
          </a:p>
          <a:p>
            <a:pPr lvl="0"/>
            <a:r>
              <a:rPr lang="de-DE"/>
              <a:t>Phone +49 123 45 67 89</a:t>
            </a:r>
          </a:p>
          <a:p>
            <a:pPr lvl="0"/>
            <a:r>
              <a:rPr lang="de-DE"/>
              <a:t>Mobile +49 123 45 67 89 0</a:t>
            </a:r>
          </a:p>
          <a:p>
            <a:pPr lvl="0"/>
            <a:r>
              <a:rPr lang="de-DE" err="1"/>
              <a:t>E-mail</a:t>
            </a:r>
            <a:r>
              <a:rPr lang="de-DE"/>
              <a:t> </a:t>
            </a:r>
            <a:r>
              <a:rPr lang="de-DE" err="1"/>
              <a:t>firstname.lastname@siemens.com</a:t>
            </a:r>
            <a:endParaRPr lang="de-DE"/>
          </a:p>
        </p:txBody>
      </p:sp>
    </p:spTree>
    <p:extLst>
      <p:ext uri="{BB962C8B-B14F-4D97-AF65-F5344CB8AC3E}">
        <p14:creationId xmlns:p14="http://schemas.microsoft.com/office/powerpoint/2010/main" val="2165965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bwMode="black">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noProof="0"/>
              <a:t>Titelformat bearbeiten Kapiteltrenner 80 pt</a:t>
            </a:r>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noProof="0"/>
              <a:t>Subhead für Kapiteltrennergröße 80 pt</a:t>
            </a:r>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bwMode="black">
          <a:xfrm>
            <a:off x="1059160" y="6310800"/>
            <a:ext cx="8640003" cy="547200"/>
          </a:xfrm>
        </p:spPr>
        <p:txBody>
          <a:bodyPr/>
          <a:lstStyle/>
          <a:p>
            <a:endParaRPr lang="en-US" noProof="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bwMode="black">
          <a:xfrm>
            <a:off x="2930264" y="6560219"/>
            <a:ext cx="648000" cy="227700"/>
          </a:xfrm>
          <a:prstGeom prst="rect">
            <a:avLst/>
          </a:prstGeom>
        </p:spPr>
        <p:txBody>
          <a:bodyPr/>
          <a:lstStyle/>
          <a:p>
            <a:r>
              <a:rPr lang="en-US" noProof="0"/>
              <a:t>Seite </a:t>
            </a:r>
            <a:fld id="{15EBE321-CBB1-4E91-BD14-37C8D44326FB}" type="slidenum">
              <a:rPr lang="en-US" noProof="0" smtClean="0"/>
              <a:pPr/>
              <a:t>‹Nr.›</a:t>
            </a:fld>
            <a:endParaRPr lang="en-US" noProof="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black">
          <a:xfrm>
            <a:off x="10274400" y="6364800"/>
            <a:ext cx="1512000" cy="240408"/>
          </a:xfrm>
          <a:prstGeom prst="rect">
            <a:avLst/>
          </a:prstGeom>
        </p:spPr>
      </p:pic>
    </p:spTree>
    <p:extLst>
      <p:ext uri="{BB962C8B-B14F-4D97-AF65-F5344CB8AC3E}">
        <p14:creationId xmlns:p14="http://schemas.microsoft.com/office/powerpoint/2010/main" val="9573903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act">
    <p:bg>
      <p:bgRef idx="1001">
        <a:schemeClr val="bg2"/>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8E175FA-6261-8DAB-A30A-DB7FFCC7AB74}"/>
              </a:ext>
            </a:extLst>
          </p:cNvPr>
          <p:cNvGraphicFramePr>
            <a:graphicFrameLocks noChangeAspect="1"/>
          </p:cNvGraphicFramePr>
          <p:nvPr userDrawn="1">
            <p:custDataLst>
              <p:tags r:id="rId1"/>
            </p:custDataLst>
            <p:extLst>
              <p:ext uri="{D42A27DB-BD31-4B8C-83A1-F6EECF244321}">
                <p14:modId xmlns:p14="http://schemas.microsoft.com/office/powerpoint/2010/main" val="142322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78E175FA-6261-8DAB-A30A-DB7FFCC7AB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bwMode="black">
          <a:xfrm>
            <a:off x="411163" y="1469090"/>
            <a:ext cx="9863237" cy="1162523"/>
          </a:xfrm>
          <a:blipFill dpi="0" rotWithShape="1">
            <a:blip r:embed="rId5">
              <a:extLst>
                <a:ext uri="{96DAC541-7B7A-43D3-8B79-37D633B846F1}">
                  <asvg:svgBlip xmlns:asvg="http://schemas.microsoft.com/office/drawing/2016/SVG/main" r:embed="rId6"/>
                </a:ext>
              </a:extLst>
            </a:blip>
            <a:srcRect/>
            <a:stretch>
              <a:fillRect/>
            </a:stretch>
          </a:blipFill>
        </p:spPr>
        <p:txBody>
          <a:bodyPr vert="horz" wrap="square" lIns="0" tIns="54000" rIns="0" bIns="0" anchor="t" anchorCtr="0">
            <a:spAutoFit/>
          </a:bodyPr>
          <a:lstStyle>
            <a:lvl1pPr marL="540000" algn="l">
              <a:defRPr sz="8000">
                <a:solidFill>
                  <a:schemeClr val="tx1"/>
                </a:solidFill>
              </a:defRPr>
            </a:lvl1pPr>
          </a:lstStyle>
          <a:p>
            <a:r>
              <a:rPr lang="en-US" noProof="0"/>
              <a:t>Kontak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bwMode="black">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noProof="0"/>
              <a:t>Kontakt bearbeiten</a:t>
            </a:r>
          </a:p>
          <a:p>
            <a:pPr lvl="1"/>
            <a:r>
              <a:rPr lang="en-US" noProof="0"/>
              <a:t>Name etc.</a:t>
            </a:r>
          </a:p>
          <a:p>
            <a:pPr lvl="2"/>
            <a:r>
              <a:rPr lang="en-US" noProof="0"/>
              <a:t>Abteilung etc.</a:t>
            </a:r>
          </a:p>
          <a:p>
            <a:pPr lvl="3"/>
            <a:r>
              <a:rPr lang="en-US" noProof="0"/>
              <a:t>Unterkapitel</a:t>
            </a:r>
          </a:p>
          <a:p>
            <a:pPr lvl="4"/>
            <a:r>
              <a:rPr lang="en-US" noProof="0"/>
              <a:t>Aktives Unterkapitel</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bwMode="black"/>
        <p:txBody>
          <a:bodyPr/>
          <a:lstStyle/>
          <a:p>
            <a:pPr>
              <a:lnSpc>
                <a:spcPct val="100000"/>
              </a:lnSpc>
            </a:pPr>
            <a:endParaRPr lang="en-US" noProof="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bwMode="black">
          <a:xfrm>
            <a:off x="2930264" y="6560219"/>
            <a:ext cx="648000" cy="227700"/>
          </a:xfrm>
          <a:prstGeom prst="rect">
            <a:avLst/>
          </a:prstGeom>
        </p:spPr>
        <p:txBody>
          <a:bodyPr/>
          <a:lstStyle/>
          <a:p>
            <a:r>
              <a:rPr lang="en-US" noProof="0"/>
              <a:t>Seite </a:t>
            </a:r>
            <a:fld id="{15EBE321-CBB1-4E91-BD14-37C8D44326FB}" type="slidenum">
              <a:rPr lang="en-US" noProof="0" smtClean="0"/>
              <a:pPr/>
              <a:t>‹Nr.›</a:t>
            </a:fld>
            <a:endParaRPr lang="en-US" noProof="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black">
          <a:xfrm>
            <a:off x="10635188" y="6418800"/>
            <a:ext cx="1152000" cy="183168"/>
          </a:xfrm>
          <a:prstGeom prst="rect">
            <a:avLst/>
          </a:prstGeom>
        </p:spPr>
      </p:pic>
    </p:spTree>
    <p:extLst>
      <p:ext uri="{BB962C8B-B14F-4D97-AF65-F5344CB8AC3E}">
        <p14:creationId xmlns:p14="http://schemas.microsoft.com/office/powerpoint/2010/main" val="24382735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778">
          <p15:clr>
            <a:srgbClr val="65CEFF"/>
          </p15:clr>
        </p15:guide>
        <p15:guide id="5" orient="horz" pos="3658">
          <p15:clr>
            <a:srgbClr val="65CEFF"/>
          </p15:clr>
        </p15:guide>
        <p15:guide id="6"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picture dark 36pt">
    <p:bg>
      <p:bgRef idx="1001">
        <a:schemeClr val="bg2"/>
      </p:bgRef>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D1747595-1396-F64A-9359-4832AE032D1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 y="0"/>
            <a:ext cx="12191999" cy="6858000"/>
          </a:xfrm>
          <a:prstGeom prst="rect">
            <a:avLst/>
          </a:prstGeom>
        </p:spPr>
      </p:pic>
      <p:graphicFrame>
        <p:nvGraphicFramePr>
          <p:cNvPr id="6" name="Objekt 5" hidden="1">
            <a:extLst>
              <a:ext uri="{FF2B5EF4-FFF2-40B4-BE49-F238E27FC236}">
                <a16:creationId xmlns:a16="http://schemas.microsoft.com/office/drawing/2014/main" id="{3B2F7B3A-A0B8-4C3F-8841-E47A275CBE8A}"/>
              </a:ext>
            </a:extLst>
          </p:cNvPr>
          <p:cNvGraphicFramePr>
            <a:graphicFrameLocks noChangeAspect="1"/>
          </p:cNvGraphicFramePr>
          <p:nvPr userDrawn="1">
            <p:custDataLst>
              <p:tags r:id="rId1"/>
            </p:custDataLst>
            <p:extLst>
              <p:ext uri="{D42A27DB-BD31-4B8C-83A1-F6EECF244321}">
                <p14:modId xmlns:p14="http://schemas.microsoft.com/office/powerpoint/2010/main" val="3184939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kt 5" hidden="1">
                        <a:extLst>
                          <a:ext uri="{FF2B5EF4-FFF2-40B4-BE49-F238E27FC236}">
                            <a16:creationId xmlns:a16="http://schemas.microsoft.com/office/drawing/2014/main" id="{3B2F7B3A-A0B8-4C3F-8841-E47A275CBE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10274400" y="6364800"/>
            <a:ext cx="1512000" cy="240408"/>
          </a:xfrm>
          <a:prstGeom prst="rect">
            <a:avLst/>
          </a:prstGeom>
        </p:spPr>
      </p:pic>
      <p:sp>
        <p:nvSpPr>
          <p:cNvPr id="5" name="Rechteck 4">
            <a:extLst>
              <a:ext uri="{FF2B5EF4-FFF2-40B4-BE49-F238E27FC236}">
                <a16:creationId xmlns:a16="http://schemas.microsoft.com/office/drawing/2014/main" id="{0DC04C6C-F445-874E-BBA9-DCCDDB0FFEE1}"/>
              </a:ext>
            </a:extLst>
          </p:cNvPr>
          <p:cNvSpPr/>
          <p:nvPr userDrawn="1"/>
        </p:nvSpPr>
        <p:spPr>
          <a:xfrm rot="10800000" flipV="1">
            <a:off x="-2" y="2491409"/>
            <a:ext cx="6321287" cy="4366591"/>
          </a:xfrm>
          <a:prstGeom prst="rect">
            <a:avLst/>
          </a:prstGeom>
          <a:gradFill>
            <a:gsLst>
              <a:gs pos="16000">
                <a:srgbClr val="000000">
                  <a:alpha val="63660"/>
                </a:srgbClr>
              </a:gs>
              <a:gs pos="59000">
                <a:schemeClr val="bg1">
                  <a:alpha val="26240"/>
                </a:schemeClr>
              </a:gs>
              <a:gs pos="100000">
                <a:schemeClr val="bg1">
                  <a:alpha val="0"/>
                </a:schemeClr>
              </a:gs>
            </a:gsLst>
            <a:path path="rect">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de-DE"/>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4863964" cy="1661993"/>
          </a:xfrm>
          <a:blipFill dpi="0"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a:fillRect t="-1000" b="500"/>
            </a:stretch>
          </a:blipFill>
        </p:spPr>
        <p:txBody>
          <a:bodyPr vert="horz" wrap="square" rIns="0" bIns="0" anchor="t">
            <a:spAutoFit/>
          </a:bodyPr>
          <a:lstStyle>
            <a:lvl1pPr marL="252000" rtl="0">
              <a:lnSpc>
                <a:spcPct val="100000"/>
              </a:lnSpc>
              <a:defRPr sz="3600">
                <a:solidFill>
                  <a:schemeClr val="tx1"/>
                </a:solidFill>
              </a:defRPr>
            </a:lvl1pPr>
          </a:lstStyle>
          <a:p>
            <a:r>
              <a:rPr lang="en-US"/>
              <a:t>Click to edit </a:t>
            </a:r>
            <a:br>
              <a:rPr lang="en-US"/>
            </a:br>
            <a:r>
              <a:rPr lang="en-US"/>
              <a:t>Master title style </a:t>
            </a:r>
            <a:br>
              <a:rPr lang="en-US"/>
            </a:br>
            <a:r>
              <a:rPr lang="en-US"/>
              <a:t>36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4863203" cy="725445"/>
          </a:xfrm>
          <a:prstGeom prst="rect">
            <a:avLst/>
          </a:prstGeom>
        </p:spPr>
        <p:txBody>
          <a:bodyPr lIns="0" tIns="252000">
            <a:noAutofit/>
          </a:bodyPr>
          <a:lstStyle>
            <a:lvl1pPr marL="0" indent="0" algn="l" rtl="0">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a:t>Subhead for headline size 36 </a:t>
            </a:r>
            <a:r>
              <a:rPr lang="en-US" err="1"/>
              <a:t>pt</a:t>
            </a:r>
            <a:endParaRPr lang="en-US"/>
          </a:p>
        </p:txBody>
      </p:sp>
      <p:sp>
        <p:nvSpPr>
          <p:cNvPr id="10" name="Textfeld 9">
            <a:extLst>
              <a:ext uri="{FF2B5EF4-FFF2-40B4-BE49-F238E27FC236}">
                <a16:creationId xmlns:a16="http://schemas.microsoft.com/office/drawing/2014/main" id="{4C4E11D2-8067-AD42-9914-B306FD34AD96}"/>
              </a:ext>
            </a:extLst>
          </p:cNvPr>
          <p:cNvSpPr txBox="1"/>
          <p:nvPr userDrawn="1"/>
        </p:nvSpPr>
        <p:spPr>
          <a:xfrm>
            <a:off x="410400" y="6581001"/>
            <a:ext cx="2473434"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a:t>Unrestricted | © Siemens 2022 | InnoTrans 2022</a:t>
            </a:r>
          </a:p>
          <a:p>
            <a:pPr algn="l"/>
            <a:endParaRPr lang="de-DE" sz="900" err="1"/>
          </a:p>
        </p:txBody>
      </p:sp>
    </p:spTree>
    <p:extLst>
      <p:ext uri="{BB962C8B-B14F-4D97-AF65-F5344CB8AC3E}">
        <p14:creationId xmlns:p14="http://schemas.microsoft.com/office/powerpoint/2010/main" val="19665478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0B4AE9A-6F08-457A-AADD-17CDB274E0B2}"/>
              </a:ext>
            </a:extLst>
          </p:cNvPr>
          <p:cNvGraphicFramePr>
            <a:graphicFrameLocks noChangeAspect="1"/>
          </p:cNvGraphicFramePr>
          <p:nvPr userDrawn="1">
            <p:custDataLst>
              <p:tags r:id="rId1"/>
            </p:custDataLst>
            <p:extLst>
              <p:ext uri="{D42A27DB-BD31-4B8C-83A1-F6EECF244321}">
                <p14:modId xmlns:p14="http://schemas.microsoft.com/office/powerpoint/2010/main" val="424176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C0B4AE9A-6F08-457A-AADD-17CDB274E0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a:t>Click to edit Master title style 8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wrap="square" lIns="0" tIns="349200" anchor="t">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a:t>Subhead for headline size 80 </a:t>
            </a:r>
            <a:r>
              <a:rPr lang="en-US" err="1"/>
              <a:t>pt</a:t>
            </a:r>
            <a:endParaRPr lang="en-US"/>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8347181-14AF-4B0F-8EC9-A95D461C8E5E}"/>
              </a:ext>
            </a:extLst>
          </p:cNvPr>
          <p:cNvGraphicFramePr>
            <a:graphicFrameLocks noChangeAspect="1"/>
          </p:cNvGraphicFramePr>
          <p:nvPr userDrawn="1">
            <p:custDataLst>
              <p:tags r:id="rId1"/>
            </p:custDataLst>
            <p:extLst>
              <p:ext uri="{D42A27DB-BD31-4B8C-83A1-F6EECF244321}">
                <p14:modId xmlns:p14="http://schemas.microsoft.com/office/powerpoint/2010/main" val="1619250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38347181-14AF-4B0F-8EC9-A95D461C8E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rIns="0" bIns="0" anchor="t" anchorCtr="0">
            <a:spAutoFit/>
          </a:bodyPr>
          <a:lstStyle>
            <a:lvl1pPr marL="414000" rtl="0">
              <a:lnSpc>
                <a:spcPct val="100000"/>
              </a:lnSpc>
              <a:defRPr sz="6000">
                <a:solidFill>
                  <a:schemeClr val="tx1"/>
                </a:solidFill>
              </a:defRPr>
            </a:lvl1pPr>
          </a:lstStyle>
          <a:p>
            <a:r>
              <a:rPr lang="en-US"/>
              <a:t>Click to edit </a:t>
            </a:r>
            <a:br>
              <a:rPr lang="en-US"/>
            </a:br>
            <a:r>
              <a:rPr lang="en-US"/>
              <a:t>Master title style</a:t>
            </a:r>
            <a:br>
              <a:rPr lang="en-US"/>
            </a:br>
            <a:r>
              <a:rPr lang="en-US"/>
              <a:t>3 lines 6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wrap="square" lIns="0" tIns="349200" anchor="t">
            <a:noAutofit/>
          </a:bodyPr>
          <a:lstStyle>
            <a:lvl1pPr marL="0" indent="0" algn="l" rtl="0">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60 </a:t>
            </a:r>
            <a:r>
              <a:rPr lang="en-US" err="1"/>
              <a:t>pt</a:t>
            </a:r>
            <a:endParaRPr lang="en-US"/>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8ED37C0-EBDB-48A6-9CA9-9E01D6B84EEB}"/>
              </a:ext>
            </a:extLst>
          </p:cNvPr>
          <p:cNvGraphicFramePr>
            <a:graphicFrameLocks noChangeAspect="1"/>
          </p:cNvGraphicFramePr>
          <p:nvPr userDrawn="1">
            <p:custDataLst>
              <p:tags r:id="rId1"/>
            </p:custDataLst>
            <p:extLst>
              <p:ext uri="{D42A27DB-BD31-4B8C-83A1-F6EECF244321}">
                <p14:modId xmlns:p14="http://schemas.microsoft.com/office/powerpoint/2010/main" val="320868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Objekt 7" hidden="1">
                        <a:extLst>
                          <a:ext uri="{FF2B5EF4-FFF2-40B4-BE49-F238E27FC236}">
                            <a16:creationId xmlns:a16="http://schemas.microsoft.com/office/drawing/2014/main" id="{B8ED37C0-EBDB-48A6-9CA9-9E01D6B84E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5" cstate="hq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b="500"/>
            </a:stretch>
          </a:blipFill>
        </p:spPr>
        <p:txBody>
          <a:bodyPr vert="horz" wrap="square" rIns="0" bIns="0" anchor="t" anchorCtr="0">
            <a:spAutoFit/>
          </a:bodyPr>
          <a:lstStyle>
            <a:lvl1pPr marL="270000" rtl="0">
              <a:lnSpc>
                <a:spcPct val="100000"/>
              </a:lnSpc>
              <a:defRPr sz="4000">
                <a:solidFill>
                  <a:schemeClr val="tx1"/>
                </a:solidFill>
              </a:defRPr>
            </a:lvl1pPr>
          </a:lstStyle>
          <a:p>
            <a:r>
              <a:rPr lang="en-US"/>
              <a:t>Click to edit </a:t>
            </a:r>
            <a:br>
              <a:rPr lang="en-US"/>
            </a:br>
            <a:r>
              <a:rPr lang="en-US"/>
              <a:t>Master title style</a:t>
            </a:r>
            <a:br>
              <a:rPr lang="en-US"/>
            </a:br>
            <a:r>
              <a:rPr lang="en-US"/>
              <a:t>extra long headlines</a:t>
            </a:r>
            <a:br>
              <a:rPr lang="en-US"/>
            </a:br>
            <a:r>
              <a:rPr lang="en-US"/>
              <a:t>4 lines 40 </a:t>
            </a:r>
            <a:r>
              <a:rPr lang="en-US" err="1"/>
              <a:t>pt</a:t>
            </a:r>
            <a:endParaRPr lang="en-US"/>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rtl="0">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a:t>Subhead for headline size 40 </a:t>
            </a:r>
            <a:r>
              <a:rPr lang="en-US" err="1"/>
              <a:t>pt</a:t>
            </a:r>
            <a:endParaRPr lang="en-US"/>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007F6A-9CF0-437F-91F2-E7FC2DA5F229}"/>
              </a:ext>
            </a:extLst>
          </p:cNvPr>
          <p:cNvGraphicFramePr>
            <a:graphicFrameLocks noChangeAspect="1"/>
          </p:cNvGraphicFramePr>
          <p:nvPr userDrawn="1">
            <p:custDataLst>
              <p:tags r:id="rId1"/>
            </p:custDataLst>
            <p:extLst>
              <p:ext uri="{D42A27DB-BD31-4B8C-83A1-F6EECF244321}">
                <p14:modId xmlns:p14="http://schemas.microsoft.com/office/powerpoint/2010/main" val="3529913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01007F6A-9CF0-437F-91F2-E7FC2DA5F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vert="horz"/>
          <a:lstStyle>
            <a:lvl1pPr rtl="0">
              <a:defRPr/>
            </a:lvl1pPr>
          </a:lstStyle>
          <a:p>
            <a:r>
              <a:rPr lang="en-US"/>
              <a:t>Mastertitelformat bearbeiten</a:t>
            </a:r>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a:xfrm>
            <a:off x="2930264" y="6560219"/>
            <a:ext cx="648000" cy="227700"/>
          </a:xfrm>
          <a:prstGeom prst="rect">
            <a:avLst/>
          </a:prstGeom>
        </p:spPr>
        <p:txBody>
          <a:bodyPr/>
          <a:lstStyle>
            <a:lvl1pPr rtl="0">
              <a:defRPr/>
            </a:lvl1pPr>
          </a:lstStyle>
          <a:p>
            <a:r>
              <a:rPr lang="en-US"/>
              <a:t>Page </a:t>
            </a:r>
            <a:fld id="{15EBE321-CBB1-4E91-BD14-37C8D44326FB}" type="slidenum">
              <a:rPr lang="en-US" smtClean="0"/>
              <a:pPr/>
              <a:t>‹Nr.›</a:t>
            </a:fld>
            <a:endParaRPr lang="en-US"/>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78" userDrawn="1">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Free Content">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1007F6A-9CF0-437F-91F2-E7FC2DA5F229}"/>
              </a:ext>
            </a:extLst>
          </p:cNvPr>
          <p:cNvGraphicFramePr>
            <a:graphicFrameLocks noChangeAspect="1"/>
          </p:cNvGraphicFramePr>
          <p:nvPr userDrawn="1">
            <p:custDataLst>
              <p:tags r:id="rId1"/>
            </p:custDataLst>
            <p:extLst>
              <p:ext uri="{D42A27DB-BD31-4B8C-83A1-F6EECF244321}">
                <p14:modId xmlns:p14="http://schemas.microsoft.com/office/powerpoint/2010/main" val="367210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kt 3" hidden="1">
                        <a:extLst>
                          <a:ext uri="{FF2B5EF4-FFF2-40B4-BE49-F238E27FC236}">
                            <a16:creationId xmlns:a16="http://schemas.microsoft.com/office/drawing/2014/main" id="{01007F6A-9CF0-437F-91F2-E7FC2DA5F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vert="horz"/>
          <a:lstStyle>
            <a:lvl1pPr rtl="0">
              <a:defRPr>
                <a:solidFill>
                  <a:schemeClr val="bg1"/>
                </a:solidFill>
              </a:defRPr>
            </a:lvl1pPr>
          </a:lstStyle>
          <a:p>
            <a:r>
              <a:rPr lang="en-US"/>
              <a:t>Mastertitelformat bearbeiten</a:t>
            </a:r>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5" cstate="screen">
            <a:lum bright="100000"/>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635188" y="6418800"/>
            <a:ext cx="1152000" cy="183168"/>
          </a:xfrm>
          <a:prstGeom prst="rect">
            <a:avLst/>
          </a:prstGeom>
        </p:spPr>
      </p:pic>
      <p:sp>
        <p:nvSpPr>
          <p:cNvPr id="9" name="Textfeld 8">
            <a:extLst>
              <a:ext uri="{FF2B5EF4-FFF2-40B4-BE49-F238E27FC236}">
                <a16:creationId xmlns:a16="http://schemas.microsoft.com/office/drawing/2014/main" id="{B4140DED-54E5-4ED0-8296-4C82A9C673A4}"/>
              </a:ext>
            </a:extLst>
          </p:cNvPr>
          <p:cNvSpPr txBox="1"/>
          <p:nvPr userDrawn="1"/>
        </p:nvSpPr>
        <p:spPr>
          <a:xfrm>
            <a:off x="410400" y="6581001"/>
            <a:ext cx="1633460"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chemeClr val="bg1"/>
                </a:solidFill>
              </a:rPr>
              <a:t>Unrestricted | © Siemens 2022</a:t>
            </a:r>
            <a:endParaRPr lang="de-DE" sz="900" dirty="0">
              <a:solidFill>
                <a:schemeClr val="bg1"/>
              </a:solidFill>
            </a:endParaRPr>
          </a:p>
        </p:txBody>
      </p:sp>
    </p:spTree>
    <p:extLst>
      <p:ext uri="{BB962C8B-B14F-4D97-AF65-F5344CB8AC3E}">
        <p14:creationId xmlns:p14="http://schemas.microsoft.com/office/powerpoint/2010/main" val="575208717"/>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952" userDrawn="1">
          <p15:clr>
            <a:srgbClr val="65CEFF"/>
          </p15:clr>
        </p15:guide>
        <p15:guide id="18" orient="horz" pos="4178" userDrawn="1">
          <p15:clr>
            <a:srgbClr val="65CEFF"/>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6496351-FC69-4445-99D9-76F4305E2A59}"/>
              </a:ext>
            </a:extLst>
          </p:cNvPr>
          <p:cNvGraphicFramePr>
            <a:graphicFrameLocks noChangeAspect="1"/>
          </p:cNvGraphicFramePr>
          <p:nvPr userDrawn="1">
            <p:custDataLst>
              <p:tags r:id="rId34"/>
            </p:custDataLst>
            <p:extLst>
              <p:ext uri="{D42A27DB-BD31-4B8C-83A1-F6EECF244321}">
                <p14:modId xmlns:p14="http://schemas.microsoft.com/office/powerpoint/2010/main" val="1593999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44" imgH="345" progId="TCLayout.ActiveDocument.1">
                  <p:embed/>
                </p:oleObj>
              </mc:Choice>
              <mc:Fallback>
                <p:oleObj name="think-cell Slide" r:id="rId35" imgW="344" imgH="345" progId="TCLayout.ActiveDocument.1">
                  <p:embed/>
                  <p:pic>
                    <p:nvPicPr>
                      <p:cNvPr id="7" name="Objekt 6" hidden="1">
                        <a:extLst>
                          <a:ext uri="{FF2B5EF4-FFF2-40B4-BE49-F238E27FC236}">
                            <a16:creationId xmlns:a16="http://schemas.microsoft.com/office/drawing/2014/main" id="{96496351-FC69-4445-99D9-76F4305E2A5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t" anchorCtr="0">
            <a:noAutofit/>
          </a:bodyPr>
          <a:lstStyle/>
          <a:p>
            <a:r>
              <a:rPr lang="en-US"/>
              <a:t>Mastertitelformat bearbeiten</a:t>
            </a:r>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en-US"/>
              <a:t>Mastertextformat bearbeiten</a:t>
            </a:r>
          </a:p>
          <a:p>
            <a:pPr lvl="1"/>
            <a:r>
              <a:rPr lang="en-US"/>
              <a:t>Zweite Ebene</a:t>
            </a:r>
          </a:p>
          <a:p>
            <a:pPr lvl="2"/>
            <a:r>
              <a:rPr lang="en-US"/>
              <a:t>Dritte Ebene</a:t>
            </a:r>
          </a:p>
          <a:p>
            <a:pPr lvl="3"/>
            <a:r>
              <a:rPr lang="en-US"/>
              <a:t>Vierte Ebene</a:t>
            </a:r>
          </a:p>
          <a:p>
            <a:pPr lvl="4"/>
            <a:r>
              <a:rPr lang="en-US"/>
              <a:t>Fünfte Ebene</a:t>
            </a:r>
          </a:p>
        </p:txBody>
      </p:sp>
      <p:sp>
        <p:nvSpPr>
          <p:cNvPr id="4" name="Textfeld 3">
            <a:extLst>
              <a:ext uri="{FF2B5EF4-FFF2-40B4-BE49-F238E27FC236}">
                <a16:creationId xmlns:a16="http://schemas.microsoft.com/office/drawing/2014/main" id="{833DB8D5-E5FA-834C-9A8A-ECE5EB365F3A}"/>
              </a:ext>
            </a:extLst>
          </p:cNvPr>
          <p:cNvSpPr txBox="1"/>
          <p:nvPr userDrawn="1"/>
        </p:nvSpPr>
        <p:spPr>
          <a:xfrm>
            <a:off x="410400" y="6581001"/>
            <a:ext cx="157094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Unrestricted | © Siemens 2022</a:t>
            </a:r>
            <a:endParaRPr lang="de-DE" sz="900"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63" r:id="rId1"/>
    <p:sldLayoutId id="2147483725" r:id="rId2"/>
    <p:sldLayoutId id="2147483726" r:id="rId3"/>
    <p:sldLayoutId id="2147483751" r:id="rId4"/>
    <p:sldLayoutId id="2147483739" r:id="rId5"/>
    <p:sldLayoutId id="2147483740" r:id="rId6"/>
    <p:sldLayoutId id="2147483741" r:id="rId7"/>
    <p:sldLayoutId id="2147483655" r:id="rId8"/>
    <p:sldLayoutId id="2147483764" r:id="rId9"/>
    <p:sldLayoutId id="2147483677" r:id="rId10"/>
    <p:sldLayoutId id="2147483709" r:id="rId11"/>
    <p:sldLayoutId id="2147483753" r:id="rId12"/>
    <p:sldLayoutId id="2147483754" r:id="rId13"/>
    <p:sldLayoutId id="2147483757" r:id="rId14"/>
    <p:sldLayoutId id="2147483758" r:id="rId15"/>
    <p:sldLayoutId id="2147483760" r:id="rId16"/>
    <p:sldLayoutId id="2147483759" r:id="rId17"/>
    <p:sldLayoutId id="2147483761" r:id="rId18"/>
    <p:sldLayoutId id="2147483650" r:id="rId19"/>
    <p:sldLayoutId id="2147483665" r:id="rId20"/>
    <p:sldLayoutId id="2147483666" r:id="rId21"/>
    <p:sldLayoutId id="2147483697" r:id="rId22"/>
    <p:sldLayoutId id="2147483698" r:id="rId23"/>
    <p:sldLayoutId id="2147483652" r:id="rId24"/>
    <p:sldLayoutId id="2147483680" r:id="rId25"/>
    <p:sldLayoutId id="2147483694" r:id="rId26"/>
    <p:sldLayoutId id="2147483687" r:id="rId27"/>
    <p:sldLayoutId id="2147483681" r:id="rId28"/>
    <p:sldLayoutId id="2147483711" r:id="rId29"/>
    <p:sldLayoutId id="2147483752" r:id="rId30"/>
    <p:sldLayoutId id="2147483765" r:id="rId31"/>
    <p:sldLayoutId id="2147483766" r:id="rId32"/>
  </p:sldLayoutIdLst>
  <p:hf hdr="0" ft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4.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9.xml"/><Relationship Id="rId1" Type="http://schemas.openxmlformats.org/officeDocument/2006/relationships/tags" Target="../tags/tag47.xml"/><Relationship Id="rId5" Type="http://schemas.openxmlformats.org/officeDocument/2006/relationships/image" Target="../media/image40.png"/><Relationship Id="rId4" Type="http://schemas.openxmlformats.org/officeDocument/2006/relationships/image" Target="../media/image39.emf"/></Relationships>
</file>

<file path=ppt/slides/_rels/slide11.xml.rels><?xml version="1.0" encoding="UTF-8" standalone="yes"?>
<Relationships xmlns="http://schemas.openxmlformats.org/package/2006/relationships"><Relationship Id="rId8" Type="http://schemas.openxmlformats.org/officeDocument/2006/relationships/hyperlink" Target="https://www.continental.com/en/press/press-releases/20210729-ces-siemens-ehighway/" TargetMode="External"/><Relationship Id="rId3" Type="http://schemas.openxmlformats.org/officeDocument/2006/relationships/tags" Target="../tags/tag50.xml"/><Relationship Id="rId7" Type="http://schemas.openxmlformats.org/officeDocument/2006/relationships/image" Target="../media/image41.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hyperlink" Target="https://www.sintef.no/projectweb/elingo/sluttdokumentasjon/" TargetMode="External"/><Relationship Id="rId13" Type="http://schemas.openxmlformats.org/officeDocument/2006/relationships/hyperlink" Target="https://aronietis.eu/wp-content/uploads/2022/01/Logibat_WP2_REPORT.pdf" TargetMode="External"/><Relationship Id="rId18" Type="http://schemas.openxmlformats.org/officeDocument/2006/relationships/hyperlink" Target="https://www.camecon.com/what/our-work/zero-emission-road-freight-transport-in-spain/" TargetMode="External"/><Relationship Id="rId3" Type="http://schemas.openxmlformats.org/officeDocument/2006/relationships/notesSlide" Target="../notesSlides/notesSlide9.xml"/><Relationship Id="rId7" Type="http://schemas.openxmlformats.org/officeDocument/2006/relationships/hyperlink" Target="https://www.trm.dk/nyheder/2021/groen-omstilling-for-475-millioner-kroner/" TargetMode="External"/><Relationship Id="rId12" Type="http://schemas.openxmlformats.org/officeDocument/2006/relationships/hyperlink" Target="https://topsectorlogistiek.nl/wptop/wp-content/uploads/2020/10/20200929-Outlook-Hinterland-Continental-Freight-2020.pdf" TargetMode="External"/><Relationship Id="rId17" Type="http://schemas.openxmlformats.org/officeDocument/2006/relationships/hyperlink" Target="https://www.mit.gov.it/comunicazione/news/rapporto-stemi-presentato-ministro-giovannini-decarbonizzazione-trasporti" TargetMode="External"/><Relationship Id="rId2" Type="http://schemas.openxmlformats.org/officeDocument/2006/relationships/slideLayout" Target="../slideLayouts/slideLayout9.xml"/><Relationship Id="rId16" Type="http://schemas.openxmlformats.org/officeDocument/2006/relationships/hyperlink" Target="https://www.ecologie.gouv.fr/lautoroute-electrique#scroll-nav__2" TargetMode="External"/><Relationship Id="rId1" Type="http://schemas.openxmlformats.org/officeDocument/2006/relationships/tags" Target="../tags/tag51.xml"/><Relationship Id="rId6" Type="http://schemas.openxmlformats.org/officeDocument/2006/relationships/hyperlink" Target="https://utveckling.regionorebrolan.se/globalassets/media/dokument/regional-utveckling/samhallsplanering-och-infrastruktur/electric-road-pilot-e20-hallsberg-orebro.pdf" TargetMode="External"/><Relationship Id="rId11" Type="http://schemas.openxmlformats.org/officeDocument/2006/relationships/hyperlink" Target="https://podcasts.google.com/feed/aHR0cHM6Ly9hbmNob3IuZm0vcy81MzRlZmFhNC9wb2RjYXN0L3Jzcw?sa=X&amp;ved=0CAMQ4aUDahcKEwj4jKrQg4nxAhUAAAAAHQAAAAAQDQ" TargetMode="External"/><Relationship Id="rId5" Type="http://schemas.openxmlformats.org/officeDocument/2006/relationships/image" Target="../media/image1.emf"/><Relationship Id="rId15" Type="http://schemas.openxmlformats.org/officeDocument/2006/relationships/hyperlink" Target="https://bbj.hu/politics/foreign-affairs/visits/hungary-to-join-german-ehighway-pilot-project" TargetMode="External"/><Relationship Id="rId10" Type="http://schemas.openxmlformats.org/officeDocument/2006/relationships/hyperlink" Target="https://www.csrf.ac.uk/2020/07/white-paper-long-haul-freight-electrification/" TargetMode="External"/><Relationship Id="rId4" Type="http://schemas.openxmlformats.org/officeDocument/2006/relationships/oleObject" Target="../embeddings/oleObject44.bin"/><Relationship Id="rId9" Type="http://schemas.openxmlformats.org/officeDocument/2006/relationships/hyperlink" Target="https://www.theguardian.com/environment/2021/jul/27/uk-government-backs-scheme-for-motorway-cables-to-power-lorries" TargetMode="External"/><Relationship Id="rId14" Type="http://schemas.openxmlformats.org/officeDocument/2006/relationships/hyperlink" Target="https://www.biem.at/energyroads"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1.xml"/><Relationship Id="rId1" Type="http://schemas.openxmlformats.org/officeDocument/2006/relationships/tags" Target="../tags/tag52.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1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oleObject" Target="../embeddings/oleObject46.bin"/><Relationship Id="rId5" Type="http://schemas.openxmlformats.org/officeDocument/2006/relationships/slideLayout" Target="../slideLayouts/slideLayout9.xml"/><Relationship Id="rId4" Type="http://schemas.openxmlformats.org/officeDocument/2006/relationships/tags" Target="../tags/tag5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1.xml"/><Relationship Id="rId1" Type="http://schemas.openxmlformats.org/officeDocument/2006/relationships/tags" Target="../tags/tag57.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4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48.bin"/><Relationship Id="rId5" Type="http://schemas.openxmlformats.org/officeDocument/2006/relationships/hyperlink" Target="https://www.plattform-zukunft-mobilitaet.de/wp-content/uploads/2020/12/NPM_AG1_Werkstattbericht_Nfz.pdf" TargetMode="External"/><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62.xml"/><Relationship Id="rId7" Type="http://schemas.openxmlformats.org/officeDocument/2006/relationships/hyperlink" Target="https://www.plattform-zukunft-mobilitaet.de/wp-content/uploads/2020/12/NPM_AG1_Werkstattbericht_Nfz.pdf" TargetMode="Externa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notesSlide" Target="../notesSlides/notesSlide13.xml"/><Relationship Id="rId5" Type="http://schemas.openxmlformats.org/officeDocument/2006/relationships/slideLayout" Target="../slideLayouts/slideLayout9.xml"/><Relationship Id="rId4" Type="http://schemas.openxmlformats.org/officeDocument/2006/relationships/tags" Target="../tags/tag63.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1.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xml"/><Relationship Id="rId7" Type="http://schemas.openxmlformats.org/officeDocument/2006/relationships/image" Target="../media/image35.png"/><Relationship Id="rId2" Type="http://schemas.openxmlformats.org/officeDocument/2006/relationships/slideLayout" Target="../slideLayouts/slideLayout9.xml"/><Relationship Id="rId1" Type="http://schemas.openxmlformats.org/officeDocument/2006/relationships/tags" Target="../tags/tag35.xml"/><Relationship Id="rId6"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8.png"/><Relationship Id="rId4" Type="http://schemas.openxmlformats.org/officeDocument/2006/relationships/oleObject" Target="../embeddings/oleObject34.bin"/><Relationship Id="rId9" Type="http://schemas.openxmlformats.org/officeDocument/2006/relationships/image" Target="../media/image37.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1.xml"/><Relationship Id="rId1" Type="http://schemas.openxmlformats.org/officeDocument/2006/relationships/tags" Target="../tags/tag69.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2.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chart" Target="../charts/chart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75.xml"/><Relationship Id="rId7" Type="http://schemas.openxmlformats.org/officeDocument/2006/relationships/notesSlide" Target="../notesSlides/notesSlide18.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slideLayout" Target="../slideLayouts/slideLayout9.xml"/><Relationship Id="rId5" Type="http://schemas.openxmlformats.org/officeDocument/2006/relationships/tags" Target="../tags/tag77.xml"/><Relationship Id="rId10" Type="http://schemas.openxmlformats.org/officeDocument/2006/relationships/image" Target="../media/image43.png"/><Relationship Id="rId4" Type="http://schemas.openxmlformats.org/officeDocument/2006/relationships/tags" Target="../tags/tag76.xml"/><Relationship Id="rId9"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hyperlink" Target="http://www.siemens.com/ehighway" TargetMode="External"/><Relationship Id="rId2" Type="http://schemas.openxmlformats.org/officeDocument/2006/relationships/hyperlink" Target="mailto:hasso.gruenjes@siemens.com" TargetMode="Externa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19.xml"/><Relationship Id="rId7" Type="http://schemas.openxmlformats.org/officeDocument/2006/relationships/hyperlink" Target="https://www.youtube.com/watch?v=gAUff-fz_MM&amp;t=0s" TargetMode="External"/><Relationship Id="rId2" Type="http://schemas.openxmlformats.org/officeDocument/2006/relationships/slideLayout" Target="../slideLayouts/slideLayout9.xml"/><Relationship Id="rId1" Type="http://schemas.openxmlformats.org/officeDocument/2006/relationships/tags" Target="../tags/tag78.xml"/><Relationship Id="rId6" Type="http://schemas.openxmlformats.org/officeDocument/2006/relationships/hyperlink" Target="https://www.youtube.com/watch?v=NHSofIc31rw" TargetMode="External"/><Relationship Id="rId5" Type="http://schemas.openxmlformats.org/officeDocument/2006/relationships/image" Target="../media/image1.emf"/><Relationship Id="rId4" Type="http://schemas.openxmlformats.org/officeDocument/2006/relationships/oleObject" Target="../embeddings/oleObject56.bin"/><Relationship Id="rId9" Type="http://schemas.openxmlformats.org/officeDocument/2006/relationships/image" Target="../media/image45.jpe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9.xml"/><Relationship Id="rId1" Type="http://schemas.openxmlformats.org/officeDocument/2006/relationships/tags" Target="../tags/tag79.xml"/><Relationship Id="rId6" Type="http://schemas.openxmlformats.org/officeDocument/2006/relationships/hyperlink" Target="https://assets.new.siemens.com/siemens/assets/api/uuid:760942b4-5661-43c1-b9f8-079741d12e6e/smo-factsheet-road-freight-transport-ehighway.pdf" TargetMode="External"/><Relationship Id="rId5" Type="http://schemas.openxmlformats.org/officeDocument/2006/relationships/image" Target="../media/image4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1.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hyperlink" Target="https://www.isi.fraunhofer.de/content/dam/isi/dokumente/cce/2017/MKS_Machbarkeitsstudie_Hybrid-Oberleitungs_Lkw_Bericht_2017.pdf" TargetMode="Externa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1.xml"/><Relationship Id="rId1" Type="http://schemas.openxmlformats.org/officeDocument/2006/relationships/tags" Target="../tags/tag39.xml"/><Relationship Id="rId6" Type="http://schemas.openxmlformats.org/officeDocument/2006/relationships/image" Target="../media/image34.pn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chart" Target="../charts/chart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1.xml"/><Relationship Id="rId1" Type="http://schemas.openxmlformats.org/officeDocument/2006/relationships/tags" Target="../tags/tag45.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hyperlink" Target="https://www.iea.org/reports/the-role-of-critical-minerals-in-clean-energy-transitions" TargetMode="External"/><Relationship Id="rId5" Type="http://schemas.openxmlformats.org/officeDocument/2006/relationships/image" Target="../media/image1.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F236389-21E2-7530-4450-AEF5022C3730}"/>
              </a:ext>
            </a:extLst>
          </p:cNvPr>
          <p:cNvGraphicFramePr>
            <a:graphicFrameLocks noChangeAspect="1"/>
          </p:cNvGraphicFramePr>
          <p:nvPr>
            <p:custDataLst>
              <p:tags r:id="rId1"/>
            </p:custDataLst>
            <p:extLst>
              <p:ext uri="{D42A27DB-BD31-4B8C-83A1-F6EECF244321}">
                <p14:modId xmlns:p14="http://schemas.microsoft.com/office/powerpoint/2010/main" val="461289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4F236389-21E2-7530-4450-AEF5022C3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0E9BF45-0C62-9692-16CA-3F98FFDD0EB3}"/>
              </a:ext>
            </a:extLst>
          </p:cNvPr>
          <p:cNvSpPr>
            <a:spLocks noGrp="1"/>
          </p:cNvSpPr>
          <p:nvPr>
            <p:ph type="title"/>
          </p:nvPr>
        </p:nvSpPr>
        <p:spPr>
          <a:xfrm>
            <a:off x="410401" y="3780000"/>
            <a:ext cx="9287638" cy="1107996"/>
          </a:xfrm>
        </p:spPr>
        <p:txBody>
          <a:bodyPr vert="horz"/>
          <a:lstStyle/>
          <a:p>
            <a:r>
              <a:rPr lang="en-US" dirty="0"/>
              <a:t>Dynamic Charging</a:t>
            </a:r>
            <a:br>
              <a:rPr lang="en-US" dirty="0"/>
            </a:br>
            <a:r>
              <a:rPr lang="en-US" b="0" dirty="0"/>
              <a:t>Reaching goals in time</a:t>
            </a:r>
          </a:p>
        </p:txBody>
      </p:sp>
      <p:pic>
        <p:nvPicPr>
          <p:cNvPr id="6" name="Picture 4">
            <a:extLst>
              <a:ext uri="{FF2B5EF4-FFF2-40B4-BE49-F238E27FC236}">
                <a16:creationId xmlns:a16="http://schemas.microsoft.com/office/drawing/2014/main" id="{EEB5C59B-1F03-1E97-5D93-97A953C92F6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7432"/>
            <a:ext cx="12192000" cy="3534855"/>
          </a:xfrm>
          <a:prstGeom prst="rect">
            <a:avLst/>
          </a:prstGeom>
        </p:spPr>
      </p:pic>
    </p:spTree>
    <p:extLst>
      <p:ext uri="{BB962C8B-B14F-4D97-AF65-F5344CB8AC3E}">
        <p14:creationId xmlns:p14="http://schemas.microsoft.com/office/powerpoint/2010/main" val="645145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19CFAE-B476-B204-03D1-39D226FA3B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B719CFAE-B476-B204-03D1-39D226FA3B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B2F207-21B4-3D81-3D95-FEEDF79452BD}"/>
              </a:ext>
            </a:extLst>
          </p:cNvPr>
          <p:cNvSpPr>
            <a:spLocks noGrp="1"/>
          </p:cNvSpPr>
          <p:nvPr>
            <p:ph type="title"/>
          </p:nvPr>
        </p:nvSpPr>
        <p:spPr/>
        <p:txBody>
          <a:bodyPr vert="horz"/>
          <a:lstStyle/>
          <a:p>
            <a:r>
              <a:rPr lang="en-US" dirty="0"/>
              <a:t>IEA: </a:t>
            </a:r>
            <a:r>
              <a:rPr lang="en-US" sz="1800" b="1" i="0" u="none" strike="noStrike" baseline="0" dirty="0">
                <a:latin typeface="Arial-BoldMT"/>
              </a:rPr>
              <a:t>China dominates the entire downstream EV battery supply chain</a:t>
            </a:r>
            <a:endParaRPr lang="en-US" dirty="0"/>
          </a:p>
        </p:txBody>
      </p:sp>
      <p:pic>
        <p:nvPicPr>
          <p:cNvPr id="10" name="Picture 9">
            <a:extLst>
              <a:ext uri="{FF2B5EF4-FFF2-40B4-BE49-F238E27FC236}">
                <a16:creationId xmlns:a16="http://schemas.microsoft.com/office/drawing/2014/main" id="{2323EDFF-ABDE-0B2F-DB1C-FAF88CECDB51}"/>
              </a:ext>
            </a:extLst>
          </p:cNvPr>
          <p:cNvPicPr>
            <a:picLocks noChangeAspect="1"/>
          </p:cNvPicPr>
          <p:nvPr/>
        </p:nvPicPr>
        <p:blipFill rotWithShape="1">
          <a:blip r:embed="rId5"/>
          <a:srcRect t="8753"/>
          <a:stretch/>
        </p:blipFill>
        <p:spPr>
          <a:xfrm>
            <a:off x="1547070" y="1099587"/>
            <a:ext cx="10201275" cy="5136533"/>
          </a:xfrm>
          <a:prstGeom prst="rect">
            <a:avLst/>
          </a:prstGeom>
        </p:spPr>
      </p:pic>
    </p:spTree>
    <p:extLst>
      <p:ext uri="{BB962C8B-B14F-4D97-AF65-F5344CB8AC3E}">
        <p14:creationId xmlns:p14="http://schemas.microsoft.com/office/powerpoint/2010/main" val="18890228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AAC935E-BB36-5A59-518C-BE72CEB7A9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5" name="Objekt 4" hidden="1">
                        <a:extLst>
                          <a:ext uri="{FF2B5EF4-FFF2-40B4-BE49-F238E27FC236}">
                            <a16:creationId xmlns:a16="http://schemas.microsoft.com/office/drawing/2014/main" id="{4AAC935E-BB36-5A59-518C-BE72CEB7A9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4589EB0-9E90-2E29-E175-48754A59A8EF}"/>
              </a:ext>
            </a:extLst>
          </p:cNvPr>
          <p:cNvSpPr>
            <a:spLocks noGrp="1"/>
          </p:cNvSpPr>
          <p:nvPr>
            <p:ph type="title"/>
          </p:nvPr>
        </p:nvSpPr>
        <p:spPr/>
        <p:txBody>
          <a:bodyPr vert="horz"/>
          <a:lstStyle/>
          <a:p>
            <a:r>
              <a:rPr lang="en-US" dirty="0"/>
              <a:t>Role out of technology </a:t>
            </a:r>
            <a:br>
              <a:rPr lang="en-US" dirty="0"/>
            </a:br>
            <a:r>
              <a:rPr lang="en-US" b="0" dirty="0"/>
              <a:t>Based on cooperation across industries and development of open standards </a:t>
            </a:r>
            <a:endParaRPr lang="de-DE" b="0" dirty="0"/>
          </a:p>
        </p:txBody>
      </p:sp>
      <p:pic>
        <p:nvPicPr>
          <p:cNvPr id="10" name="Grafik 9" descr="Ein Bild, das Text, Gras, Himmel, draußen enthält.&#10;&#10;Automatisch generierte Beschreibung">
            <a:extLst>
              <a:ext uri="{FF2B5EF4-FFF2-40B4-BE49-F238E27FC236}">
                <a16:creationId xmlns:a16="http://schemas.microsoft.com/office/drawing/2014/main" id="{71CDDFF1-B9CC-D094-342B-6A6D457249D2}"/>
              </a:ext>
            </a:extLst>
          </p:cNvPr>
          <p:cNvPicPr>
            <a:picLocks noChangeAspect="1"/>
          </p:cNvPicPr>
          <p:nvPr/>
        </p:nvPicPr>
        <p:blipFill rotWithShape="1">
          <a:blip r:embed="rId7"/>
          <a:srcRect l="8850" r="25916"/>
          <a:stretch/>
        </p:blipFill>
        <p:spPr>
          <a:xfrm>
            <a:off x="0" y="1710046"/>
            <a:ext cx="5959774" cy="3960301"/>
          </a:xfrm>
          <a:prstGeom prst="rect">
            <a:avLst/>
          </a:prstGeom>
        </p:spPr>
      </p:pic>
      <p:sp>
        <p:nvSpPr>
          <p:cNvPr id="13" name="TextBox 7">
            <a:extLst>
              <a:ext uri="{FF2B5EF4-FFF2-40B4-BE49-F238E27FC236}">
                <a16:creationId xmlns:a16="http://schemas.microsoft.com/office/drawing/2014/main" id="{46AA477B-3184-B90A-19DC-B67AFAA1F809}"/>
              </a:ext>
            </a:extLst>
          </p:cNvPr>
          <p:cNvSpPr txBox="1"/>
          <p:nvPr/>
        </p:nvSpPr>
        <p:spPr>
          <a:xfrm>
            <a:off x="411163" y="6135301"/>
            <a:ext cx="10501440" cy="138499"/>
          </a:xfrm>
          <a:prstGeom prst="rect">
            <a:avLst/>
          </a:prstGeom>
          <a:noFill/>
        </p:spPr>
        <p:txBody>
          <a:bodyPr wrap="square" lIns="0" tIns="0" rIns="0" bIns="0">
            <a:noAutofit/>
          </a:bodyPr>
          <a:lstStyle/>
          <a:p>
            <a:r>
              <a:rPr lang="en-US" sz="900">
                <a:solidFill>
                  <a:schemeClr val="accent3"/>
                </a:solidFill>
                <a:hlinkClick r:id="rId8">
                  <a:extLst>
                    <a:ext uri="{A12FA001-AC4F-418D-AE19-62706E023703}">
                      <ahyp:hlinkClr xmlns:ahyp="http://schemas.microsoft.com/office/drawing/2018/hyperlinkcolor" val="tx"/>
                    </a:ext>
                  </a:extLst>
                </a:hlinkClick>
              </a:rPr>
              <a:t>https://www.continental.com/en/press/press-releases/20210729-ces-siemens-ehighway/</a:t>
            </a:r>
            <a:endParaRPr lang="en-US" sz="900">
              <a:solidFill>
                <a:schemeClr val="accent3"/>
              </a:solidFill>
            </a:endParaRPr>
          </a:p>
        </p:txBody>
      </p:sp>
      <p:sp>
        <p:nvSpPr>
          <p:cNvPr id="4" name="Richtungspfeil 17">
            <a:extLst>
              <a:ext uri="{FF2B5EF4-FFF2-40B4-BE49-F238E27FC236}">
                <a16:creationId xmlns:a16="http://schemas.microsoft.com/office/drawing/2014/main" id="{A89D0C44-75D4-6170-55AB-5DE691508FF5}"/>
              </a:ext>
            </a:extLst>
          </p:cNvPr>
          <p:cNvSpPr>
            <a:spLocks/>
          </p:cNvSpPr>
          <p:nvPr>
            <p:custDataLst>
              <p:tags r:id="rId2"/>
            </p:custDataLst>
          </p:nvPr>
        </p:nvSpPr>
        <p:spPr bwMode="gray">
          <a:xfrm>
            <a:off x="6359358" y="2037065"/>
            <a:ext cx="5429870" cy="1177245"/>
          </a:xfrm>
          <a:prstGeom prst="rect">
            <a:avLst/>
          </a:prstGeom>
        </p:spPr>
        <p:txBody>
          <a:bodyPr vert="horz" wrap="square" lIns="0" tIns="0" rIns="0" bIns="0" rtlCol="0">
            <a:spAutoFit/>
          </a:bodyPr>
          <a:lstStyle/>
          <a:p>
            <a:pPr marL="0" lvl="1" fontAlgn="base">
              <a:spcAft>
                <a:spcPts val="300"/>
              </a:spcAft>
              <a:buClr>
                <a:srgbClr val="9999A9"/>
              </a:buClr>
              <a:buSzPct val="100000"/>
            </a:pPr>
            <a:r>
              <a:rPr lang="en-US" sz="1600" b="1" dirty="0">
                <a:solidFill>
                  <a:schemeClr val="accent2">
                    <a:lumMod val="100000"/>
                  </a:schemeClr>
                </a:solidFill>
              </a:rPr>
              <a:t>EN50119 incl. informative annex C</a:t>
            </a:r>
            <a:br>
              <a:rPr lang="en-US" sz="1600" b="1" dirty="0">
                <a:solidFill>
                  <a:schemeClr val="accent2">
                    <a:lumMod val="100000"/>
                  </a:schemeClr>
                </a:solidFill>
              </a:rPr>
            </a:br>
            <a:r>
              <a:rPr lang="en-US" sz="1600" b="1" dirty="0">
                <a:solidFill>
                  <a:schemeClr val="accent2">
                    <a:lumMod val="100000"/>
                  </a:schemeClr>
                </a:solidFill>
              </a:rPr>
              <a:t>– OCL for electric trucks</a:t>
            </a:r>
          </a:p>
          <a:p>
            <a:pPr marL="0" lvl="1" fontAlgn="base">
              <a:spcAft>
                <a:spcPts val="300"/>
              </a:spcAft>
              <a:buClr>
                <a:srgbClr val="9999A9"/>
              </a:buClr>
              <a:buSzPct val="100000"/>
            </a:pPr>
            <a:r>
              <a:rPr lang="en-US" sz="1400" dirty="0">
                <a:solidFill>
                  <a:schemeClr val="bg1">
                    <a:lumMod val="85000"/>
                  </a:schemeClr>
                </a:solidFill>
              </a:rPr>
              <a:t>In the April 2020 update an Annex (informative) on infrastructure requirements for overhead contact lines for electric trucks on roads was already integrated. </a:t>
            </a:r>
          </a:p>
        </p:txBody>
      </p:sp>
      <p:sp>
        <p:nvSpPr>
          <p:cNvPr id="6" name="Richtungspfeil 17">
            <a:extLst>
              <a:ext uri="{FF2B5EF4-FFF2-40B4-BE49-F238E27FC236}">
                <a16:creationId xmlns:a16="http://schemas.microsoft.com/office/drawing/2014/main" id="{E84B3DE2-9119-46E0-DA60-BD7840A3C263}"/>
              </a:ext>
            </a:extLst>
          </p:cNvPr>
          <p:cNvSpPr>
            <a:spLocks/>
          </p:cNvSpPr>
          <p:nvPr>
            <p:custDataLst>
              <p:tags r:id="rId3"/>
            </p:custDataLst>
          </p:nvPr>
        </p:nvSpPr>
        <p:spPr bwMode="gray">
          <a:xfrm>
            <a:off x="6359358" y="4166082"/>
            <a:ext cx="5429870" cy="1177245"/>
          </a:xfrm>
          <a:prstGeom prst="rect">
            <a:avLst/>
          </a:prstGeom>
        </p:spPr>
        <p:txBody>
          <a:bodyPr vert="horz" wrap="square" lIns="0" tIns="0" rIns="0" bIns="0" rtlCol="0">
            <a:spAutoFit/>
          </a:bodyPr>
          <a:lstStyle/>
          <a:p>
            <a:pPr marL="0" lvl="1" fontAlgn="base">
              <a:spcAft>
                <a:spcPts val="300"/>
              </a:spcAft>
              <a:buClr>
                <a:srgbClr val="9999A9"/>
              </a:buClr>
              <a:buSzPct val="100000"/>
            </a:pPr>
            <a:r>
              <a:rPr lang="en-US" sz="1600" b="1">
                <a:solidFill>
                  <a:schemeClr val="accent2">
                    <a:lumMod val="100000"/>
                  </a:schemeClr>
                </a:solidFill>
              </a:rPr>
              <a:t>TC9x – Interaction between pantograph </a:t>
            </a:r>
            <a:br>
              <a:rPr lang="en-US" sz="1600" b="1">
                <a:solidFill>
                  <a:schemeClr val="accent2">
                    <a:lumMod val="100000"/>
                  </a:schemeClr>
                </a:solidFill>
              </a:rPr>
            </a:br>
            <a:r>
              <a:rPr lang="en-US" sz="1600" b="1">
                <a:solidFill>
                  <a:schemeClr val="accent2">
                    <a:lumMod val="100000"/>
                  </a:schemeClr>
                </a:solidFill>
              </a:rPr>
              <a:t>and OCL on electrified roads</a:t>
            </a:r>
          </a:p>
          <a:p>
            <a:pPr marL="0" lvl="1" fontAlgn="base">
              <a:spcAft>
                <a:spcPts val="300"/>
              </a:spcAft>
              <a:buClr>
                <a:srgbClr val="9999A9"/>
              </a:buClr>
              <a:buSzPct val="100000"/>
            </a:pPr>
            <a:r>
              <a:rPr lang="en-US" sz="1400">
                <a:solidFill>
                  <a:schemeClr val="bg1">
                    <a:lumMod val="85000"/>
                  </a:schemeClr>
                </a:solidFill>
              </a:rPr>
              <a:t>CENELEC working group (WG27) finalizing and reviewing </a:t>
            </a:r>
            <a:br>
              <a:rPr lang="en-US" sz="1400">
                <a:solidFill>
                  <a:schemeClr val="bg1">
                    <a:lumMod val="85000"/>
                  </a:schemeClr>
                </a:solidFill>
              </a:rPr>
            </a:br>
            <a:r>
              <a:rPr lang="en-US" sz="1400">
                <a:solidFill>
                  <a:schemeClr val="bg1">
                    <a:lumMod val="85000"/>
                  </a:schemeClr>
                </a:solidFill>
              </a:rPr>
              <a:t>a technical specification (TS) as initial step of a technical standard. TS expected in 6-9 months.</a:t>
            </a:r>
          </a:p>
        </p:txBody>
      </p:sp>
      <p:cxnSp>
        <p:nvCxnSpPr>
          <p:cNvPr id="7" name="Gerader Verbinder 6">
            <a:extLst>
              <a:ext uri="{FF2B5EF4-FFF2-40B4-BE49-F238E27FC236}">
                <a16:creationId xmlns:a16="http://schemas.microsoft.com/office/drawing/2014/main" id="{EE842928-0AA6-1FE2-9001-8643DF32FF27}"/>
              </a:ext>
            </a:extLst>
          </p:cNvPr>
          <p:cNvCxnSpPr>
            <a:cxnSpLocks/>
          </p:cNvCxnSpPr>
          <p:nvPr/>
        </p:nvCxnSpPr>
        <p:spPr>
          <a:xfrm>
            <a:off x="6359358" y="3690196"/>
            <a:ext cx="5429870" cy="0"/>
          </a:xfrm>
          <a:prstGeom prst="line">
            <a:avLst/>
          </a:prstGeom>
          <a:ln w="9525">
            <a:solidFill>
              <a:srgbClr val="333353"/>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6238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FBD6F04-D26C-CA1F-1240-94106D2A0993}"/>
              </a:ext>
            </a:extLst>
          </p:cNvPr>
          <p:cNvGraphicFramePr>
            <a:graphicFrameLocks noChangeAspect="1"/>
          </p:cNvGraphicFramePr>
          <p:nvPr>
            <p:custDataLst>
              <p:tags r:id="rId1"/>
            </p:custDataLst>
            <p:extLst>
              <p:ext uri="{D42A27DB-BD31-4B8C-83A1-F6EECF244321}">
                <p14:modId xmlns:p14="http://schemas.microsoft.com/office/powerpoint/2010/main" val="364314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4" name="Objekt 3" hidden="1">
                        <a:extLst>
                          <a:ext uri="{FF2B5EF4-FFF2-40B4-BE49-F238E27FC236}">
                            <a16:creationId xmlns:a16="http://schemas.microsoft.com/office/drawing/2014/main" id="{AFBD6F04-D26C-CA1F-1240-94106D2A09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platzhalter 8">
            <a:extLst>
              <a:ext uri="{FF2B5EF4-FFF2-40B4-BE49-F238E27FC236}">
                <a16:creationId xmlns:a16="http://schemas.microsoft.com/office/drawing/2014/main" id="{AF4CA3D0-D30F-C4FC-63E4-E8E4176B7B9D}"/>
              </a:ext>
            </a:extLst>
          </p:cNvPr>
          <p:cNvSpPr txBox="1">
            <a:spLocks/>
          </p:cNvSpPr>
          <p:nvPr/>
        </p:nvSpPr>
        <p:spPr>
          <a:xfrm>
            <a:off x="404050" y="1371758"/>
            <a:ext cx="8197902" cy="107721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chemeClr val="accent2"/>
                </a:solidFill>
              </a:rPr>
              <a:t>1. Nordics</a:t>
            </a:r>
          </a:p>
          <a:p>
            <a:pPr lvl="1">
              <a:lnSpc>
                <a:spcPct val="100000"/>
              </a:lnSpc>
              <a:buClr>
                <a:srgbClr val="9999A9"/>
              </a:buClr>
              <a:buSzPct val="100000"/>
            </a:pPr>
            <a:r>
              <a:rPr lang="en-US" sz="1200">
                <a:solidFill>
                  <a:srgbClr val="CCCCD4"/>
                </a:solidFill>
              </a:rPr>
              <a:t>SE: National Transport Plan 2022 – 2034 includes planning for 2,400 km electrified motorways</a:t>
            </a:r>
          </a:p>
          <a:p>
            <a:pPr lvl="1">
              <a:lnSpc>
                <a:spcPct val="100000"/>
              </a:lnSpc>
              <a:buClr>
                <a:srgbClr val="9999A9"/>
              </a:buClr>
              <a:buSzPct val="100000"/>
            </a:pPr>
            <a:r>
              <a:rPr lang="en-US" sz="1200">
                <a:solidFill>
                  <a:srgbClr val="CCCCD4"/>
                </a:solidFill>
              </a:rPr>
              <a:t>SE: Ca. </a:t>
            </a:r>
            <a:r>
              <a:rPr lang="en-US" sz="1200">
                <a:solidFill>
                  <a:srgbClr val="CCCCD4"/>
                </a:solidFill>
                <a:hlinkClick r:id="rId6"/>
              </a:rPr>
              <a:t>20 km pilot </a:t>
            </a:r>
            <a:r>
              <a:rPr lang="en-US" sz="1200">
                <a:solidFill>
                  <a:srgbClr val="CCCCD4"/>
                </a:solidFill>
              </a:rPr>
              <a:t>between national rail hub and nearby logistic centers being procured</a:t>
            </a:r>
          </a:p>
          <a:p>
            <a:pPr lvl="1">
              <a:lnSpc>
                <a:spcPct val="100000"/>
              </a:lnSpc>
              <a:buClr>
                <a:srgbClr val="9999A9"/>
              </a:buClr>
              <a:buSzPct val="100000"/>
            </a:pPr>
            <a:r>
              <a:rPr lang="en-US" sz="1200">
                <a:solidFill>
                  <a:srgbClr val="CCCCD4"/>
                </a:solidFill>
              </a:rPr>
              <a:t>DK: </a:t>
            </a:r>
            <a:r>
              <a:rPr lang="en-US" sz="1200">
                <a:solidFill>
                  <a:srgbClr val="CCCCD4"/>
                </a:solidFill>
                <a:hlinkClick r:id="rId7"/>
              </a:rPr>
              <a:t>Parliament approved </a:t>
            </a:r>
            <a:r>
              <a:rPr lang="en-US" sz="1200">
                <a:solidFill>
                  <a:srgbClr val="CCCCD4"/>
                </a:solidFill>
              </a:rPr>
              <a:t>€400 k study on overhead catenary (OCL) corridor to Germany</a:t>
            </a:r>
          </a:p>
          <a:p>
            <a:pPr lvl="1">
              <a:lnSpc>
                <a:spcPct val="100000"/>
              </a:lnSpc>
              <a:buClr>
                <a:srgbClr val="9999A9"/>
              </a:buClr>
              <a:buSzPct val="100000"/>
            </a:pPr>
            <a:r>
              <a:rPr lang="en-US" sz="1200">
                <a:solidFill>
                  <a:srgbClr val="CCCCD4"/>
                </a:solidFill>
              </a:rPr>
              <a:t>NO: Public Road Administration </a:t>
            </a:r>
            <a:r>
              <a:rPr lang="en-US" sz="1200">
                <a:solidFill>
                  <a:srgbClr val="CCCCD4"/>
                </a:solidFill>
                <a:hlinkClick r:id="rId8"/>
              </a:rPr>
              <a:t>study</a:t>
            </a:r>
            <a:r>
              <a:rPr lang="en-US" sz="1200">
                <a:solidFill>
                  <a:srgbClr val="CCCCD4"/>
                </a:solidFill>
              </a:rPr>
              <a:t> finds dynamic charging for trucks a cost-effective solution </a:t>
            </a:r>
          </a:p>
        </p:txBody>
      </p:sp>
      <p:sp>
        <p:nvSpPr>
          <p:cNvPr id="35" name="Textplatzhalter 8">
            <a:extLst>
              <a:ext uri="{FF2B5EF4-FFF2-40B4-BE49-F238E27FC236}">
                <a16:creationId xmlns:a16="http://schemas.microsoft.com/office/drawing/2014/main" id="{B0F6BA07-863F-8D0B-DF3F-728CAF27FBD4}"/>
              </a:ext>
            </a:extLst>
          </p:cNvPr>
          <p:cNvSpPr txBox="1">
            <a:spLocks/>
          </p:cNvSpPr>
          <p:nvPr/>
        </p:nvSpPr>
        <p:spPr>
          <a:xfrm>
            <a:off x="404050" y="2644828"/>
            <a:ext cx="8197902" cy="63094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chemeClr val="accent2"/>
                </a:solidFill>
              </a:rPr>
              <a:t>2. UK</a:t>
            </a:r>
          </a:p>
          <a:p>
            <a:pPr lvl="1">
              <a:lnSpc>
                <a:spcPct val="100000"/>
              </a:lnSpc>
              <a:buClr>
                <a:srgbClr val="9999A9"/>
              </a:buClr>
              <a:buSzPct val="100000"/>
            </a:pPr>
            <a:r>
              <a:rPr lang="en-US" sz="1200" err="1">
                <a:solidFill>
                  <a:srgbClr val="CCCCD4"/>
                </a:solidFill>
              </a:rPr>
              <a:t>Gvmt</a:t>
            </a:r>
            <a:r>
              <a:rPr lang="en-US" sz="1200">
                <a:solidFill>
                  <a:srgbClr val="CCCCD4"/>
                </a:solidFill>
              </a:rPr>
              <a:t>. funded £2 m </a:t>
            </a:r>
            <a:r>
              <a:rPr lang="en-US" sz="1200">
                <a:solidFill>
                  <a:schemeClr val="accent3"/>
                </a:solidFill>
                <a:hlinkClick r:id="rId9">
                  <a:extLst>
                    <a:ext uri="{A12FA001-AC4F-418D-AE19-62706E023703}">
                      <ahyp:hlinkClr xmlns:ahyp="http://schemas.microsoft.com/office/drawing/2018/hyperlinkcolor" val="tx"/>
                    </a:ext>
                  </a:extLst>
                </a:hlinkClick>
              </a:rPr>
              <a:t>feasibility study </a:t>
            </a:r>
            <a:r>
              <a:rPr lang="en-US" sz="1200">
                <a:solidFill>
                  <a:srgbClr val="CCCCD4"/>
                </a:solidFill>
              </a:rPr>
              <a:t>on ca. 20 km catenary pilot with 50 – 150 trucks</a:t>
            </a:r>
          </a:p>
          <a:p>
            <a:pPr lvl="1">
              <a:lnSpc>
                <a:spcPct val="100000"/>
              </a:lnSpc>
              <a:buClr>
                <a:srgbClr val="9999A9"/>
              </a:buClr>
              <a:buSzPct val="100000"/>
            </a:pPr>
            <a:r>
              <a:rPr lang="en-US" sz="1200">
                <a:solidFill>
                  <a:srgbClr val="CCCCD4"/>
                </a:solidFill>
                <a:hlinkClick r:id="rId10">
                  <a:extLst>
                    <a:ext uri="{A12FA001-AC4F-418D-AE19-62706E023703}">
                      <ahyp:hlinkClr xmlns:ahyp="http://schemas.microsoft.com/office/drawing/2018/hyperlinkcolor" val="tx"/>
                    </a:ext>
                  </a:extLst>
                </a:hlinkClick>
              </a:rPr>
              <a:t>Study </a:t>
            </a:r>
            <a:r>
              <a:rPr lang="en-US" sz="1200">
                <a:solidFill>
                  <a:srgbClr val="CCCCD4"/>
                </a:solidFill>
              </a:rPr>
              <a:t>finds catenary “most energy-efficient and cost-effective solution”, see also </a:t>
            </a:r>
            <a:r>
              <a:rPr lang="en-US" sz="1200">
                <a:solidFill>
                  <a:schemeClr val="accent3"/>
                </a:solidFill>
                <a:hlinkClick r:id="rId11">
                  <a:extLst>
                    <a:ext uri="{A12FA001-AC4F-418D-AE19-62706E023703}">
                      <ahyp:hlinkClr xmlns:ahyp="http://schemas.microsoft.com/office/drawing/2018/hyperlinkcolor" val="tx"/>
                    </a:ext>
                  </a:extLst>
                </a:hlinkClick>
              </a:rPr>
              <a:t>podcast</a:t>
            </a:r>
            <a:endParaRPr lang="en-US" sz="1200">
              <a:solidFill>
                <a:schemeClr val="accent3"/>
              </a:solidFill>
            </a:endParaRPr>
          </a:p>
        </p:txBody>
      </p:sp>
      <p:sp>
        <p:nvSpPr>
          <p:cNvPr id="36" name="Textplatzhalter 8">
            <a:extLst>
              <a:ext uri="{FF2B5EF4-FFF2-40B4-BE49-F238E27FC236}">
                <a16:creationId xmlns:a16="http://schemas.microsoft.com/office/drawing/2014/main" id="{2454BC8E-F79F-72F6-3D25-8BDC03CCCD85}"/>
              </a:ext>
            </a:extLst>
          </p:cNvPr>
          <p:cNvSpPr txBox="1">
            <a:spLocks/>
          </p:cNvSpPr>
          <p:nvPr/>
        </p:nvSpPr>
        <p:spPr>
          <a:xfrm>
            <a:off x="404050" y="3400834"/>
            <a:ext cx="8197902" cy="63094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chemeClr val="accent2"/>
                </a:solidFill>
              </a:rPr>
              <a:t>3. </a:t>
            </a:r>
            <a:r>
              <a:rPr lang="en-US" sz="1200" b="1" err="1">
                <a:solidFill>
                  <a:schemeClr val="accent2"/>
                </a:solidFill>
              </a:rPr>
              <a:t>BeNeLux</a:t>
            </a:r>
            <a:endParaRPr lang="en-US" sz="1200" b="1">
              <a:solidFill>
                <a:schemeClr val="accent2"/>
              </a:solidFill>
            </a:endParaRPr>
          </a:p>
          <a:p>
            <a:pPr lvl="1">
              <a:lnSpc>
                <a:spcPct val="100000"/>
              </a:lnSpc>
              <a:buClr>
                <a:srgbClr val="9999A9"/>
              </a:buClr>
              <a:buSzPct val="100000"/>
            </a:pPr>
            <a:r>
              <a:rPr lang="en-US" sz="1200">
                <a:solidFill>
                  <a:srgbClr val="CCCCD4"/>
                </a:solidFill>
              </a:rPr>
              <a:t>NL:</a:t>
            </a:r>
            <a:r>
              <a:rPr lang="en-US" sz="1200">
                <a:solidFill>
                  <a:schemeClr val="accent3"/>
                </a:solidFill>
              </a:rPr>
              <a:t> </a:t>
            </a:r>
            <a:r>
              <a:rPr lang="en-US" sz="1200">
                <a:solidFill>
                  <a:schemeClr val="accent3"/>
                </a:solidFill>
                <a:hlinkClick r:id="rId12">
                  <a:extLst>
                    <a:ext uri="{A12FA001-AC4F-418D-AE19-62706E023703}">
                      <ahyp:hlinkClr xmlns:ahyp="http://schemas.microsoft.com/office/drawing/2018/hyperlinkcolor" val="tx"/>
                    </a:ext>
                  </a:extLst>
                </a:hlinkClick>
              </a:rPr>
              <a:t>Study</a:t>
            </a:r>
            <a:r>
              <a:rPr lang="en-US" sz="1200">
                <a:solidFill>
                  <a:schemeClr val="accent3"/>
                </a:solidFill>
              </a:rPr>
              <a:t> </a:t>
            </a:r>
            <a:r>
              <a:rPr lang="en-US" sz="1200">
                <a:solidFill>
                  <a:srgbClr val="CCCCD4"/>
                </a:solidFill>
              </a:rPr>
              <a:t>finds most economical. Alignment with neighbors is very important</a:t>
            </a:r>
          </a:p>
          <a:p>
            <a:pPr lvl="1">
              <a:lnSpc>
                <a:spcPct val="100000"/>
              </a:lnSpc>
              <a:buClr>
                <a:srgbClr val="9999A9"/>
              </a:buClr>
              <a:buSzPct val="100000"/>
            </a:pPr>
            <a:r>
              <a:rPr lang="en-US" sz="1200">
                <a:solidFill>
                  <a:srgbClr val="CCCCD4"/>
                </a:solidFill>
              </a:rPr>
              <a:t>BE: </a:t>
            </a:r>
            <a:r>
              <a:rPr lang="en-US" sz="1200">
                <a:solidFill>
                  <a:schemeClr val="accent3"/>
                </a:solidFill>
                <a:hlinkClick r:id="rId13">
                  <a:extLst>
                    <a:ext uri="{A12FA001-AC4F-418D-AE19-62706E023703}">
                      <ahyp:hlinkClr xmlns:ahyp="http://schemas.microsoft.com/office/drawing/2018/hyperlinkcolor" val="tx"/>
                    </a:ext>
                  </a:extLst>
                </a:hlinkClick>
              </a:rPr>
              <a:t>Study</a:t>
            </a:r>
            <a:r>
              <a:rPr lang="en-US" sz="1200">
                <a:solidFill>
                  <a:schemeClr val="accent3"/>
                </a:solidFill>
              </a:rPr>
              <a:t> </a:t>
            </a:r>
            <a:r>
              <a:rPr lang="en-US" sz="1200">
                <a:solidFill>
                  <a:srgbClr val="CCCCD4"/>
                </a:solidFill>
              </a:rPr>
              <a:t>finds a very strong business case for overhead catenary</a:t>
            </a:r>
          </a:p>
        </p:txBody>
      </p:sp>
      <p:sp>
        <p:nvSpPr>
          <p:cNvPr id="37" name="Textplatzhalter 8">
            <a:extLst>
              <a:ext uri="{FF2B5EF4-FFF2-40B4-BE49-F238E27FC236}">
                <a16:creationId xmlns:a16="http://schemas.microsoft.com/office/drawing/2014/main" id="{C7ED8198-CC95-4FE3-6107-FB063D8EA287}"/>
              </a:ext>
            </a:extLst>
          </p:cNvPr>
          <p:cNvSpPr txBox="1">
            <a:spLocks/>
          </p:cNvSpPr>
          <p:nvPr/>
        </p:nvSpPr>
        <p:spPr>
          <a:xfrm>
            <a:off x="404050" y="4156840"/>
            <a:ext cx="8197902" cy="85408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chemeClr val="accent2"/>
                </a:solidFill>
              </a:rPr>
              <a:t>4. Central Europe</a:t>
            </a:r>
          </a:p>
          <a:p>
            <a:pPr lvl="1">
              <a:lnSpc>
                <a:spcPct val="100000"/>
              </a:lnSpc>
              <a:buClr>
                <a:srgbClr val="9999A9"/>
              </a:buClr>
              <a:buSzPct val="100000"/>
            </a:pPr>
            <a:r>
              <a:rPr lang="en-US" sz="1200">
                <a:solidFill>
                  <a:srgbClr val="CCCCD4"/>
                </a:solidFill>
              </a:rPr>
              <a:t>AT: Study </a:t>
            </a:r>
            <a:r>
              <a:rPr lang="en-US" sz="1200">
                <a:solidFill>
                  <a:schemeClr val="accent3"/>
                </a:solidFill>
              </a:rPr>
              <a:t>“</a:t>
            </a:r>
            <a:r>
              <a:rPr lang="en-US" sz="1200">
                <a:solidFill>
                  <a:schemeClr val="accent3"/>
                </a:solidFill>
                <a:hlinkClick r:id="rId14">
                  <a:extLst>
                    <a:ext uri="{A12FA001-AC4F-418D-AE19-62706E023703}">
                      <ahyp:hlinkClr xmlns:ahyp="http://schemas.microsoft.com/office/drawing/2018/hyperlinkcolor" val="tx"/>
                    </a:ext>
                  </a:extLst>
                </a:hlinkClick>
              </a:rPr>
              <a:t>Energy Roads</a:t>
            </a:r>
            <a:r>
              <a:rPr lang="en-US" sz="1200">
                <a:solidFill>
                  <a:schemeClr val="accent3"/>
                </a:solidFill>
              </a:rPr>
              <a:t>” </a:t>
            </a:r>
            <a:r>
              <a:rPr lang="en-US" sz="1200">
                <a:solidFill>
                  <a:srgbClr val="CCCCD4"/>
                </a:solidFill>
              </a:rPr>
              <a:t>ongoing, with involvement of neighbors CZ and SK</a:t>
            </a:r>
          </a:p>
          <a:p>
            <a:pPr lvl="1">
              <a:lnSpc>
                <a:spcPct val="100000"/>
              </a:lnSpc>
              <a:buClr>
                <a:srgbClr val="9999A9"/>
              </a:buClr>
              <a:buSzPct val="100000"/>
            </a:pPr>
            <a:r>
              <a:rPr lang="en-US" sz="1200">
                <a:solidFill>
                  <a:srgbClr val="CCCCD4"/>
                </a:solidFill>
              </a:rPr>
              <a:t>HU: </a:t>
            </a:r>
            <a:r>
              <a:rPr lang="en-US" sz="1200">
                <a:solidFill>
                  <a:schemeClr val="accent3"/>
                </a:solidFill>
                <a:hlinkClick r:id="rId15">
                  <a:extLst>
                    <a:ext uri="{A12FA001-AC4F-418D-AE19-62706E023703}">
                      <ahyp:hlinkClr xmlns:ahyp="http://schemas.microsoft.com/office/drawing/2018/hyperlinkcolor" val="tx"/>
                    </a:ext>
                  </a:extLst>
                </a:hlinkClick>
              </a:rPr>
              <a:t>Transport minster </a:t>
            </a:r>
            <a:r>
              <a:rPr lang="en-US" sz="1200">
                <a:solidFill>
                  <a:srgbClr val="CCCCD4"/>
                </a:solidFill>
              </a:rPr>
              <a:t>keen on implementing pilot project. Joint corridor study with AT &amp; DE starting</a:t>
            </a:r>
          </a:p>
          <a:p>
            <a:pPr lvl="1">
              <a:lnSpc>
                <a:spcPct val="100000"/>
              </a:lnSpc>
              <a:buClr>
                <a:srgbClr val="9999A9"/>
              </a:buClr>
              <a:buSzPct val="100000"/>
            </a:pPr>
            <a:r>
              <a:rPr lang="en-US" sz="1200">
                <a:solidFill>
                  <a:srgbClr val="CCCCD4"/>
                </a:solidFill>
              </a:rPr>
              <a:t>PL: Local government project proposal for catenary route in southern Poland</a:t>
            </a:r>
          </a:p>
        </p:txBody>
      </p:sp>
      <p:sp>
        <p:nvSpPr>
          <p:cNvPr id="38" name="Textplatzhalter 8">
            <a:extLst>
              <a:ext uri="{FF2B5EF4-FFF2-40B4-BE49-F238E27FC236}">
                <a16:creationId xmlns:a16="http://schemas.microsoft.com/office/drawing/2014/main" id="{D895A089-21D9-B24F-36A6-9A216D3A98C3}"/>
              </a:ext>
            </a:extLst>
          </p:cNvPr>
          <p:cNvSpPr txBox="1">
            <a:spLocks/>
          </p:cNvSpPr>
          <p:nvPr/>
        </p:nvSpPr>
        <p:spPr>
          <a:xfrm>
            <a:off x="404050" y="5188306"/>
            <a:ext cx="8197902" cy="946093"/>
          </a:xfrm>
          <a:prstGeom prst="rect">
            <a:avLst/>
          </a:prstGeom>
        </p:spPr>
        <p:txBody>
          <a:bodyPr vert="horz" wrap="square"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1">
                <a:solidFill>
                  <a:schemeClr val="accent2"/>
                </a:solidFill>
              </a:rPr>
              <a:t>5. Mediterranean</a:t>
            </a:r>
          </a:p>
          <a:p>
            <a:pPr lvl="1">
              <a:lnSpc>
                <a:spcPct val="100000"/>
              </a:lnSpc>
              <a:buClr>
                <a:srgbClr val="9999A9"/>
              </a:buClr>
              <a:buSzPct val="100000"/>
            </a:pPr>
            <a:r>
              <a:rPr lang="en-US" sz="1200">
                <a:solidFill>
                  <a:srgbClr val="CCCCD4"/>
                </a:solidFill>
              </a:rPr>
              <a:t>FR: Three Ministry-lead </a:t>
            </a:r>
            <a:r>
              <a:rPr lang="en-US" sz="1200">
                <a:solidFill>
                  <a:schemeClr val="accent3"/>
                </a:solidFill>
                <a:hlinkClick r:id="rId16">
                  <a:extLst>
                    <a:ext uri="{A12FA001-AC4F-418D-AE19-62706E023703}">
                      <ahyp:hlinkClr xmlns:ahyp="http://schemas.microsoft.com/office/drawing/2018/hyperlinkcolor" val="tx"/>
                    </a:ext>
                  </a:extLst>
                </a:hlinkClick>
              </a:rPr>
              <a:t>working groups on ERS</a:t>
            </a:r>
            <a:r>
              <a:rPr lang="en-US" sz="1200">
                <a:solidFill>
                  <a:srgbClr val="CCCCD4"/>
                </a:solidFill>
              </a:rPr>
              <a:t>: catenary is the cheapest solution for trucks</a:t>
            </a:r>
          </a:p>
          <a:p>
            <a:pPr lvl="1">
              <a:lnSpc>
                <a:spcPct val="100000"/>
              </a:lnSpc>
              <a:buClr>
                <a:srgbClr val="9999A9"/>
              </a:buClr>
              <a:buSzPct val="100000"/>
            </a:pPr>
            <a:r>
              <a:rPr lang="en-US" sz="1200">
                <a:solidFill>
                  <a:srgbClr val="CCCCD4"/>
                </a:solidFill>
              </a:rPr>
              <a:t>IT: </a:t>
            </a:r>
            <a:r>
              <a:rPr lang="en-US" sz="1200">
                <a:solidFill>
                  <a:srgbClr val="CCCCD4"/>
                </a:solidFill>
                <a:hlinkClick r:id="rId17">
                  <a:extLst>
                    <a:ext uri="{A12FA001-AC4F-418D-AE19-62706E023703}">
                      <ahyp:hlinkClr xmlns:ahyp="http://schemas.microsoft.com/office/drawing/2018/hyperlinkcolor" val="tx"/>
                    </a:ext>
                  </a:extLst>
                </a:hlinkClick>
              </a:rPr>
              <a:t>Ministry strategy </a:t>
            </a:r>
            <a:r>
              <a:rPr lang="en-US" sz="1200">
                <a:solidFill>
                  <a:srgbClr val="CCCCD4"/>
                </a:solidFill>
              </a:rPr>
              <a:t>for trucks focus on electrification, incl. use of catenary</a:t>
            </a:r>
          </a:p>
          <a:p>
            <a:pPr lvl="1">
              <a:lnSpc>
                <a:spcPct val="100000"/>
              </a:lnSpc>
              <a:buClr>
                <a:srgbClr val="9999A9"/>
              </a:buClr>
              <a:buSzPct val="100000"/>
            </a:pPr>
            <a:r>
              <a:rPr lang="en-US" sz="1200">
                <a:solidFill>
                  <a:srgbClr val="CCCCD4"/>
                </a:solidFill>
              </a:rPr>
              <a:t>ES: </a:t>
            </a:r>
            <a:r>
              <a:rPr lang="en-US" sz="1200">
                <a:solidFill>
                  <a:schemeClr val="accent3"/>
                </a:solidFill>
                <a:hlinkClick r:id="rId18">
                  <a:extLst>
                    <a:ext uri="{A12FA001-AC4F-418D-AE19-62706E023703}">
                      <ahyp:hlinkClr xmlns:ahyp="http://schemas.microsoft.com/office/drawing/2018/hyperlinkcolor" val="tx"/>
                    </a:ext>
                  </a:extLst>
                </a:hlinkClick>
              </a:rPr>
              <a:t>Study by ECF </a:t>
            </a:r>
            <a:r>
              <a:rPr lang="en-US" sz="1200">
                <a:solidFill>
                  <a:srgbClr val="CCCCD4"/>
                </a:solidFill>
              </a:rPr>
              <a:t>finds TCO for overhead catenary already lower than ICE by 2025</a:t>
            </a:r>
          </a:p>
        </p:txBody>
      </p:sp>
      <p:grpSp>
        <p:nvGrpSpPr>
          <p:cNvPr id="90" name="Group 51">
            <a:extLst>
              <a:ext uri="{FF2B5EF4-FFF2-40B4-BE49-F238E27FC236}">
                <a16:creationId xmlns:a16="http://schemas.microsoft.com/office/drawing/2014/main" id="{2314B373-DD06-FA01-0F8B-CF917FB32BCB}"/>
              </a:ext>
            </a:extLst>
          </p:cNvPr>
          <p:cNvGrpSpPr>
            <a:grpSpLocks/>
          </p:cNvGrpSpPr>
          <p:nvPr/>
        </p:nvGrpSpPr>
        <p:grpSpPr>
          <a:xfrm>
            <a:off x="7598548" y="5798582"/>
            <a:ext cx="3213404" cy="140488"/>
            <a:chOff x="5572387" y="6093448"/>
            <a:chExt cx="3216753" cy="140634"/>
          </a:xfrm>
        </p:grpSpPr>
        <p:sp>
          <p:nvSpPr>
            <p:cNvPr id="91" name="Rechteck 83">
              <a:extLst>
                <a:ext uri="{FF2B5EF4-FFF2-40B4-BE49-F238E27FC236}">
                  <a16:creationId xmlns:a16="http://schemas.microsoft.com/office/drawing/2014/main" id="{9097D367-C57B-E200-8F20-CE27C778CEC3}"/>
                </a:ext>
              </a:extLst>
            </p:cNvPr>
            <p:cNvSpPr>
              <a:spLocks/>
            </p:cNvSpPr>
            <p:nvPr/>
          </p:nvSpPr>
          <p:spPr bwMode="auto">
            <a:xfrm>
              <a:off x="5572387" y="6112943"/>
              <a:ext cx="118800" cy="117143"/>
            </a:xfrm>
            <a:prstGeom prst="rect">
              <a:avLst/>
            </a:prstGeom>
            <a:solidFill>
              <a:schemeClr val="accent3"/>
            </a:solidFill>
            <a:ln>
              <a:noFill/>
            </a:ln>
            <a:effectLst/>
          </p:spPr>
          <p:txBody>
            <a:bodyPr wrap="square" lIns="107888" tIns="53944" rIns="107888" bIns="53944" numCol="1" spcCol="72000" rtlCol="0" anchor="ctr">
              <a:noAutofit/>
            </a:bodyPr>
            <a:lstStyle/>
            <a:p>
              <a:pPr algn="ctr" defTabSz="913943">
                <a:lnSpc>
                  <a:spcPct val="110000"/>
                </a:lnSpc>
                <a:spcBef>
                  <a:spcPct val="0"/>
                </a:spcBef>
                <a:defRPr/>
              </a:pPr>
              <a:endParaRPr lang="en-US" sz="900">
                <a:solidFill>
                  <a:srgbClr val="CCCCD4"/>
                </a:solidFill>
                <a:latin typeface="Arial"/>
                <a:ea typeface="Arial Unicode MS" panose="020B0604020202020204" pitchFamily="34" charset="-128"/>
                <a:cs typeface="Arial Unicode MS" panose="020B0604020202020204" pitchFamily="34" charset="-128"/>
              </a:endParaRPr>
            </a:p>
          </p:txBody>
        </p:sp>
        <p:sp>
          <p:nvSpPr>
            <p:cNvPr id="92" name="Textfeld 84">
              <a:extLst>
                <a:ext uri="{FF2B5EF4-FFF2-40B4-BE49-F238E27FC236}">
                  <a16:creationId xmlns:a16="http://schemas.microsoft.com/office/drawing/2014/main" id="{E012B543-C552-4C2E-A009-BA8B171C6A14}"/>
                </a:ext>
              </a:extLst>
            </p:cNvPr>
            <p:cNvSpPr txBox="1">
              <a:spLocks/>
            </p:cNvSpPr>
            <p:nvPr/>
          </p:nvSpPr>
          <p:spPr>
            <a:xfrm>
              <a:off x="5746679" y="6093448"/>
              <a:ext cx="3042461" cy="140634"/>
            </a:xfrm>
            <a:prstGeom prst="rect">
              <a:avLst/>
            </a:prstGeom>
            <a:noFill/>
          </p:spPr>
          <p:txBody>
            <a:bodyPr wrap="none" lIns="0" tIns="0" rIns="0" bIns="0" rtlCol="0">
              <a:spAutoFit/>
            </a:bodyPr>
            <a:lstStyle/>
            <a:p>
              <a:pPr defTabSz="913943">
                <a:lnSpc>
                  <a:spcPct val="110000"/>
                </a:lnSpc>
                <a:defRPr/>
              </a:pPr>
              <a:r>
                <a:rPr lang="en-US" sz="900">
                  <a:solidFill>
                    <a:srgbClr val="CCCCD4"/>
                  </a:solidFill>
                  <a:latin typeface="Arial"/>
                  <a:ea typeface="Arial Unicode MS" panose="020B0604020202020204" pitchFamily="34" charset="-128"/>
                  <a:cs typeface="Arial Unicode MS" panose="020B0604020202020204" pitchFamily="34" charset="-128"/>
                </a:rPr>
                <a:t>Catenary solution: Demo/field trial realized or in preparation</a:t>
              </a:r>
            </a:p>
          </p:txBody>
        </p:sp>
      </p:grpSp>
      <p:grpSp>
        <p:nvGrpSpPr>
          <p:cNvPr id="93" name="Group 54">
            <a:extLst>
              <a:ext uri="{FF2B5EF4-FFF2-40B4-BE49-F238E27FC236}">
                <a16:creationId xmlns:a16="http://schemas.microsoft.com/office/drawing/2014/main" id="{EB5277BD-6207-2D16-84B8-573EF65D589A}"/>
              </a:ext>
            </a:extLst>
          </p:cNvPr>
          <p:cNvGrpSpPr>
            <a:grpSpLocks/>
          </p:cNvGrpSpPr>
          <p:nvPr/>
        </p:nvGrpSpPr>
        <p:grpSpPr>
          <a:xfrm>
            <a:off x="7598551" y="5969588"/>
            <a:ext cx="3942135" cy="140488"/>
            <a:chOff x="5564655" y="6301977"/>
            <a:chExt cx="3946242" cy="140634"/>
          </a:xfrm>
        </p:grpSpPr>
        <p:sp>
          <p:nvSpPr>
            <p:cNvPr id="94" name="Textfeld 85">
              <a:extLst>
                <a:ext uri="{FF2B5EF4-FFF2-40B4-BE49-F238E27FC236}">
                  <a16:creationId xmlns:a16="http://schemas.microsoft.com/office/drawing/2014/main" id="{E546E22A-33D1-9F46-0563-452D482738BD}"/>
                </a:ext>
              </a:extLst>
            </p:cNvPr>
            <p:cNvSpPr txBox="1">
              <a:spLocks/>
            </p:cNvSpPr>
            <p:nvPr/>
          </p:nvSpPr>
          <p:spPr>
            <a:xfrm>
              <a:off x="5730287" y="6301977"/>
              <a:ext cx="3780610" cy="140634"/>
            </a:xfrm>
            <a:prstGeom prst="rect">
              <a:avLst/>
            </a:prstGeom>
            <a:noFill/>
          </p:spPr>
          <p:txBody>
            <a:bodyPr wrap="none" lIns="0" tIns="0" rIns="0" bIns="0" rtlCol="0">
              <a:spAutoFit/>
            </a:bodyPr>
            <a:lstStyle/>
            <a:p>
              <a:pPr defTabSz="913943">
                <a:lnSpc>
                  <a:spcPct val="110000"/>
                </a:lnSpc>
                <a:defRPr/>
              </a:pPr>
              <a:r>
                <a:rPr lang="en-US" sz="900">
                  <a:solidFill>
                    <a:srgbClr val="CCCCD4"/>
                  </a:solidFill>
                  <a:latin typeface="Arial"/>
                  <a:ea typeface="Arial Unicode MS" panose="020B0604020202020204" pitchFamily="34" charset="-128"/>
                  <a:cs typeface="Arial Unicode MS" panose="020B0604020202020204" pitchFamily="34" charset="-128"/>
                </a:rPr>
                <a:t>Study with regard to catenary solution for HDV exists or under preparation</a:t>
              </a:r>
            </a:p>
          </p:txBody>
        </p:sp>
        <p:sp>
          <p:nvSpPr>
            <p:cNvPr id="95" name="Rechteck 86">
              <a:extLst>
                <a:ext uri="{FF2B5EF4-FFF2-40B4-BE49-F238E27FC236}">
                  <a16:creationId xmlns:a16="http://schemas.microsoft.com/office/drawing/2014/main" id="{C73F3A25-5302-5A60-8AF7-7372E257449E}"/>
                </a:ext>
              </a:extLst>
            </p:cNvPr>
            <p:cNvSpPr>
              <a:spLocks/>
            </p:cNvSpPr>
            <p:nvPr/>
          </p:nvSpPr>
          <p:spPr bwMode="auto">
            <a:xfrm>
              <a:off x="5564655" y="6321472"/>
              <a:ext cx="118800" cy="117143"/>
            </a:xfrm>
            <a:prstGeom prst="rect">
              <a:avLst/>
            </a:prstGeom>
            <a:solidFill>
              <a:schemeClr val="accent1"/>
            </a:solidFill>
            <a:ln>
              <a:noFill/>
            </a:ln>
            <a:effectLst/>
          </p:spPr>
          <p:txBody>
            <a:bodyPr wrap="square" lIns="107888" tIns="53944" rIns="107888" bIns="53944" numCol="1" spcCol="72000" rtlCol="0" anchor="ctr">
              <a:noAutofit/>
            </a:bodyPr>
            <a:lstStyle/>
            <a:p>
              <a:pPr algn="ctr" defTabSz="913943">
                <a:lnSpc>
                  <a:spcPct val="110000"/>
                </a:lnSpc>
                <a:spcBef>
                  <a:spcPct val="0"/>
                </a:spcBef>
                <a:defRPr/>
              </a:pPr>
              <a:endParaRPr lang="en-US" sz="900">
                <a:solidFill>
                  <a:srgbClr val="CCCCD4"/>
                </a:solidFill>
                <a:latin typeface="Arial"/>
                <a:ea typeface="Arial Unicode MS" panose="020B0604020202020204" pitchFamily="34" charset="-128"/>
                <a:cs typeface="Arial Unicode MS" panose="020B0604020202020204" pitchFamily="34" charset="-128"/>
              </a:endParaRPr>
            </a:p>
          </p:txBody>
        </p:sp>
      </p:grpSp>
      <p:grpSp>
        <p:nvGrpSpPr>
          <p:cNvPr id="96" name="Group 57">
            <a:extLst>
              <a:ext uri="{FF2B5EF4-FFF2-40B4-BE49-F238E27FC236}">
                <a16:creationId xmlns:a16="http://schemas.microsoft.com/office/drawing/2014/main" id="{8C701CA0-3862-66C3-A22A-099CF5A17C2F}"/>
              </a:ext>
            </a:extLst>
          </p:cNvPr>
          <p:cNvGrpSpPr/>
          <p:nvPr/>
        </p:nvGrpSpPr>
        <p:grpSpPr>
          <a:xfrm>
            <a:off x="7598548" y="6140595"/>
            <a:ext cx="1918882" cy="140488"/>
            <a:chOff x="5572387" y="6495336"/>
            <a:chExt cx="1920882" cy="140634"/>
          </a:xfrm>
        </p:grpSpPr>
        <p:sp>
          <p:nvSpPr>
            <p:cNvPr id="97" name="Textfeld 87">
              <a:extLst>
                <a:ext uri="{FF2B5EF4-FFF2-40B4-BE49-F238E27FC236}">
                  <a16:creationId xmlns:a16="http://schemas.microsoft.com/office/drawing/2014/main" id="{1258688F-DE49-BE58-2D28-FF645ED0E955}"/>
                </a:ext>
              </a:extLst>
            </p:cNvPr>
            <p:cNvSpPr txBox="1">
              <a:spLocks/>
            </p:cNvSpPr>
            <p:nvPr/>
          </p:nvSpPr>
          <p:spPr>
            <a:xfrm>
              <a:off x="5753803" y="6495336"/>
              <a:ext cx="1739466" cy="140634"/>
            </a:xfrm>
            <a:prstGeom prst="rect">
              <a:avLst/>
            </a:prstGeom>
            <a:noFill/>
          </p:spPr>
          <p:txBody>
            <a:bodyPr wrap="none" lIns="0" tIns="0" rIns="0" bIns="0" rtlCol="0">
              <a:spAutoFit/>
            </a:bodyPr>
            <a:lstStyle/>
            <a:p>
              <a:pPr defTabSz="913943">
                <a:lnSpc>
                  <a:spcPct val="110000"/>
                </a:lnSpc>
                <a:defRPr/>
              </a:pPr>
              <a:r>
                <a:rPr lang="en-US" sz="900">
                  <a:solidFill>
                    <a:srgbClr val="CCCCD4"/>
                  </a:solidFill>
                  <a:latin typeface="Arial"/>
                  <a:ea typeface="Arial Unicode MS" panose="020B0604020202020204" pitchFamily="34" charset="-128"/>
                  <a:cs typeface="Arial Unicode MS" panose="020B0604020202020204" pitchFamily="34" charset="-128"/>
                </a:rPr>
                <a:t>Interest in catenary solution exists</a:t>
              </a:r>
            </a:p>
          </p:txBody>
        </p:sp>
        <p:sp>
          <p:nvSpPr>
            <p:cNvPr id="98" name="Rechteck 88">
              <a:extLst>
                <a:ext uri="{FF2B5EF4-FFF2-40B4-BE49-F238E27FC236}">
                  <a16:creationId xmlns:a16="http://schemas.microsoft.com/office/drawing/2014/main" id="{DF805B0B-2FFE-5C74-0402-FD4CFB95C336}"/>
                </a:ext>
              </a:extLst>
            </p:cNvPr>
            <p:cNvSpPr>
              <a:spLocks/>
            </p:cNvSpPr>
            <p:nvPr/>
          </p:nvSpPr>
          <p:spPr bwMode="auto">
            <a:xfrm>
              <a:off x="5572387" y="6514831"/>
              <a:ext cx="118800" cy="117143"/>
            </a:xfrm>
            <a:prstGeom prst="rect">
              <a:avLst/>
            </a:prstGeom>
            <a:solidFill>
              <a:schemeClr val="accent2"/>
            </a:solidFill>
            <a:ln>
              <a:noFill/>
            </a:ln>
            <a:effectLst/>
          </p:spPr>
          <p:txBody>
            <a:bodyPr wrap="square" lIns="107888" tIns="53944" rIns="107888" bIns="53944" numCol="1" spcCol="72000" rtlCol="0" anchor="ctr">
              <a:noAutofit/>
            </a:bodyPr>
            <a:lstStyle/>
            <a:p>
              <a:pPr algn="ctr" defTabSz="913943">
                <a:lnSpc>
                  <a:spcPct val="110000"/>
                </a:lnSpc>
                <a:spcBef>
                  <a:spcPct val="0"/>
                </a:spcBef>
                <a:defRPr/>
              </a:pPr>
              <a:endParaRPr lang="en-US" sz="900">
                <a:solidFill>
                  <a:srgbClr val="CCCCD4"/>
                </a:solidFill>
                <a:latin typeface="Arial"/>
                <a:ea typeface="Arial Unicode MS" panose="020B0604020202020204" pitchFamily="34" charset="-128"/>
                <a:cs typeface="Arial Unicode MS" panose="020B0604020202020204" pitchFamily="34" charset="-128"/>
              </a:endParaRPr>
            </a:p>
          </p:txBody>
        </p:sp>
      </p:grpSp>
      <p:sp>
        <p:nvSpPr>
          <p:cNvPr id="109" name="Freihandform: Form 108">
            <a:extLst>
              <a:ext uri="{FF2B5EF4-FFF2-40B4-BE49-F238E27FC236}">
                <a16:creationId xmlns:a16="http://schemas.microsoft.com/office/drawing/2014/main" id="{1A7670FD-887F-4D7A-BC99-49D1885D348E}"/>
              </a:ext>
            </a:extLst>
          </p:cNvPr>
          <p:cNvSpPr>
            <a:spLocks/>
          </p:cNvSpPr>
          <p:nvPr/>
        </p:nvSpPr>
        <p:spPr bwMode="auto">
          <a:xfrm>
            <a:off x="9364601" y="1408544"/>
            <a:ext cx="1303144" cy="1460040"/>
          </a:xfrm>
          <a:custGeom>
            <a:avLst/>
            <a:gdLst>
              <a:gd name="connsiteX0" fmla="*/ 323776 w 1402565"/>
              <a:gd name="connsiteY0" fmla="*/ 893177 h 1571431"/>
              <a:gd name="connsiteX1" fmla="*/ 332150 w 1402565"/>
              <a:gd name="connsiteY1" fmla="*/ 907133 h 1571431"/>
              <a:gd name="connsiteX2" fmla="*/ 332150 w 1402565"/>
              <a:gd name="connsiteY2" fmla="*/ 909924 h 1571431"/>
              <a:gd name="connsiteX3" fmla="*/ 281909 w 1402565"/>
              <a:gd name="connsiteY3" fmla="*/ 912715 h 1571431"/>
              <a:gd name="connsiteX4" fmla="*/ 304238 w 1402565"/>
              <a:gd name="connsiteY4" fmla="*/ 895968 h 1571431"/>
              <a:gd name="connsiteX5" fmla="*/ 527532 w 1402565"/>
              <a:gd name="connsiteY5" fmla="*/ 681047 h 1571431"/>
              <a:gd name="connsiteX6" fmla="*/ 535906 w 1402565"/>
              <a:gd name="connsiteY6" fmla="*/ 706168 h 1571431"/>
              <a:gd name="connsiteX7" fmla="*/ 513576 w 1402565"/>
              <a:gd name="connsiteY7" fmla="*/ 722915 h 1571431"/>
              <a:gd name="connsiteX8" fmla="*/ 636388 w 1402565"/>
              <a:gd name="connsiteY8" fmla="*/ 354479 h 1571431"/>
              <a:gd name="connsiteX9" fmla="*/ 658717 w 1402565"/>
              <a:gd name="connsiteY9" fmla="*/ 360062 h 1571431"/>
              <a:gd name="connsiteX10" fmla="*/ 644761 w 1402565"/>
              <a:gd name="connsiteY10" fmla="*/ 376809 h 1571431"/>
              <a:gd name="connsiteX11" fmla="*/ 628014 w 1402565"/>
              <a:gd name="connsiteY11" fmla="*/ 385182 h 1571431"/>
              <a:gd name="connsiteX12" fmla="*/ 678255 w 1402565"/>
              <a:gd name="connsiteY12" fmla="*/ 343315 h 1571431"/>
              <a:gd name="connsiteX13" fmla="*/ 703376 w 1402565"/>
              <a:gd name="connsiteY13" fmla="*/ 343315 h 1571431"/>
              <a:gd name="connsiteX14" fmla="*/ 678255 w 1402565"/>
              <a:gd name="connsiteY14" fmla="*/ 368435 h 1571431"/>
              <a:gd name="connsiteX15" fmla="*/ 664300 w 1402565"/>
              <a:gd name="connsiteY15" fmla="*/ 374017 h 1571431"/>
              <a:gd name="connsiteX16" fmla="*/ 655926 w 1402565"/>
              <a:gd name="connsiteY16" fmla="*/ 374017 h 1571431"/>
              <a:gd name="connsiteX17" fmla="*/ 756408 w 1402565"/>
              <a:gd name="connsiteY17" fmla="*/ 284700 h 1571431"/>
              <a:gd name="connsiteX18" fmla="*/ 773155 w 1402565"/>
              <a:gd name="connsiteY18" fmla="*/ 332150 h 1571431"/>
              <a:gd name="connsiteX19" fmla="*/ 750826 w 1402565"/>
              <a:gd name="connsiteY19" fmla="*/ 348897 h 1571431"/>
              <a:gd name="connsiteX20" fmla="*/ 736870 w 1402565"/>
              <a:gd name="connsiteY20" fmla="*/ 357270 h 1571431"/>
              <a:gd name="connsiteX21" fmla="*/ 700585 w 1402565"/>
              <a:gd name="connsiteY21" fmla="*/ 362853 h 1571431"/>
              <a:gd name="connsiteX22" fmla="*/ 728497 w 1402565"/>
              <a:gd name="connsiteY22" fmla="*/ 295865 h 1571431"/>
              <a:gd name="connsiteX23" fmla="*/ 708958 w 1402565"/>
              <a:gd name="connsiteY23" fmla="*/ 265162 h 1571431"/>
              <a:gd name="connsiteX24" fmla="*/ 717332 w 1402565"/>
              <a:gd name="connsiteY24" fmla="*/ 309820 h 1571431"/>
              <a:gd name="connsiteX25" fmla="*/ 692211 w 1402565"/>
              <a:gd name="connsiteY25" fmla="*/ 312612 h 1571431"/>
              <a:gd name="connsiteX26" fmla="*/ 675464 w 1402565"/>
              <a:gd name="connsiteY26" fmla="*/ 312612 h 1571431"/>
              <a:gd name="connsiteX27" fmla="*/ 678255 w 1402565"/>
              <a:gd name="connsiteY27" fmla="*/ 290282 h 1571431"/>
              <a:gd name="connsiteX28" fmla="*/ 695003 w 1402565"/>
              <a:gd name="connsiteY28" fmla="*/ 276326 h 1571431"/>
              <a:gd name="connsiteX29" fmla="*/ 761991 w 1402565"/>
              <a:gd name="connsiteY29" fmla="*/ 242832 h 1571431"/>
              <a:gd name="connsiteX30" fmla="*/ 742453 w 1402565"/>
              <a:gd name="connsiteY30" fmla="*/ 273535 h 1571431"/>
              <a:gd name="connsiteX31" fmla="*/ 725705 w 1402565"/>
              <a:gd name="connsiteY31" fmla="*/ 284700 h 1571431"/>
              <a:gd name="connsiteX32" fmla="*/ 748035 w 1402565"/>
              <a:gd name="connsiteY32" fmla="*/ 245623 h 1571431"/>
              <a:gd name="connsiteX33" fmla="*/ 834560 w 1402565"/>
              <a:gd name="connsiteY33" fmla="*/ 206547 h 1571431"/>
              <a:gd name="connsiteX34" fmla="*/ 838748 w 1402565"/>
              <a:gd name="connsiteY34" fmla="*/ 231668 h 1571431"/>
              <a:gd name="connsiteX35" fmla="*/ 828978 w 1402565"/>
              <a:gd name="connsiteY35" fmla="*/ 251206 h 1571431"/>
              <a:gd name="connsiteX36" fmla="*/ 789903 w 1402565"/>
              <a:gd name="connsiteY36" fmla="*/ 267953 h 1571431"/>
              <a:gd name="connsiteX37" fmla="*/ 792694 w 1402565"/>
              <a:gd name="connsiteY37" fmla="*/ 251206 h 1571431"/>
              <a:gd name="connsiteX38" fmla="*/ 784320 w 1402565"/>
              <a:gd name="connsiteY38" fmla="*/ 242832 h 1571431"/>
              <a:gd name="connsiteX39" fmla="*/ 787111 w 1402565"/>
              <a:gd name="connsiteY39" fmla="*/ 223294 h 1571431"/>
              <a:gd name="connsiteX40" fmla="*/ 803858 w 1402565"/>
              <a:gd name="connsiteY40" fmla="*/ 209338 h 1571431"/>
              <a:gd name="connsiteX41" fmla="*/ 875033 w 1402565"/>
              <a:gd name="connsiteY41" fmla="*/ 164679 h 1571431"/>
              <a:gd name="connsiteX42" fmla="*/ 883406 w 1402565"/>
              <a:gd name="connsiteY42" fmla="*/ 173053 h 1571431"/>
              <a:gd name="connsiteX43" fmla="*/ 869451 w 1402565"/>
              <a:gd name="connsiteY43" fmla="*/ 203756 h 1571431"/>
              <a:gd name="connsiteX44" fmla="*/ 844330 w 1402565"/>
              <a:gd name="connsiteY44" fmla="*/ 206547 h 1571431"/>
              <a:gd name="connsiteX45" fmla="*/ 835957 w 1402565"/>
              <a:gd name="connsiteY45" fmla="*/ 198174 h 1571431"/>
              <a:gd name="connsiteX46" fmla="*/ 863868 w 1402565"/>
              <a:gd name="connsiteY46" fmla="*/ 167471 h 1571431"/>
              <a:gd name="connsiteX47" fmla="*/ 908527 w 1402565"/>
              <a:gd name="connsiteY47" fmla="*/ 139559 h 1571431"/>
              <a:gd name="connsiteX48" fmla="*/ 919692 w 1402565"/>
              <a:gd name="connsiteY48" fmla="*/ 147932 h 1571431"/>
              <a:gd name="connsiteX49" fmla="*/ 914109 w 1402565"/>
              <a:gd name="connsiteY49" fmla="*/ 161888 h 1571431"/>
              <a:gd name="connsiteX50" fmla="*/ 894571 w 1402565"/>
              <a:gd name="connsiteY50" fmla="*/ 173053 h 1571431"/>
              <a:gd name="connsiteX51" fmla="*/ 880615 w 1402565"/>
              <a:gd name="connsiteY51" fmla="*/ 159097 h 1571431"/>
              <a:gd name="connsiteX52" fmla="*/ 883406 w 1402565"/>
              <a:gd name="connsiteY52" fmla="*/ 147932 h 1571431"/>
              <a:gd name="connsiteX53" fmla="*/ 911318 w 1402565"/>
              <a:gd name="connsiteY53" fmla="*/ 125603 h 1571431"/>
              <a:gd name="connsiteX54" fmla="*/ 936439 w 1402565"/>
              <a:gd name="connsiteY54" fmla="*/ 139559 h 1571431"/>
              <a:gd name="connsiteX55" fmla="*/ 928065 w 1402565"/>
              <a:gd name="connsiteY55" fmla="*/ 147932 h 1571431"/>
              <a:gd name="connsiteX56" fmla="*/ 1078789 w 1402565"/>
              <a:gd name="connsiteY56" fmla="*/ 75362 h 1571431"/>
              <a:gd name="connsiteX57" fmla="*/ 1078789 w 1402565"/>
              <a:gd name="connsiteY57" fmla="*/ 103274 h 1571431"/>
              <a:gd name="connsiteX58" fmla="*/ 1064833 w 1402565"/>
              <a:gd name="connsiteY58" fmla="*/ 120021 h 1571431"/>
              <a:gd name="connsiteX59" fmla="*/ 1050877 w 1402565"/>
              <a:gd name="connsiteY59" fmla="*/ 103274 h 1571431"/>
              <a:gd name="connsiteX60" fmla="*/ 1064833 w 1402565"/>
              <a:gd name="connsiteY60" fmla="*/ 80944 h 1571431"/>
              <a:gd name="connsiteX61" fmla="*/ 1031339 w 1402565"/>
              <a:gd name="connsiteY61" fmla="*/ 66988 h 1571431"/>
              <a:gd name="connsiteX62" fmla="*/ 1042503 w 1402565"/>
              <a:gd name="connsiteY62" fmla="*/ 69780 h 1571431"/>
              <a:gd name="connsiteX63" fmla="*/ 1039712 w 1402565"/>
              <a:gd name="connsiteY63" fmla="*/ 72571 h 1571431"/>
              <a:gd name="connsiteX64" fmla="*/ 1020174 w 1402565"/>
              <a:gd name="connsiteY64" fmla="*/ 94900 h 1571431"/>
              <a:gd name="connsiteX65" fmla="*/ 1028548 w 1402565"/>
              <a:gd name="connsiteY65" fmla="*/ 80944 h 1571431"/>
              <a:gd name="connsiteX66" fmla="*/ 1081580 w 1402565"/>
              <a:gd name="connsiteY66" fmla="*/ 53032 h 1571431"/>
              <a:gd name="connsiteX67" fmla="*/ 1095536 w 1402565"/>
              <a:gd name="connsiteY67" fmla="*/ 58615 h 1571431"/>
              <a:gd name="connsiteX68" fmla="*/ 1087162 w 1402565"/>
              <a:gd name="connsiteY68" fmla="*/ 80944 h 1571431"/>
              <a:gd name="connsiteX69" fmla="*/ 1151359 w 1402565"/>
              <a:gd name="connsiteY69" fmla="*/ 2791 h 1571431"/>
              <a:gd name="connsiteX70" fmla="*/ 1170897 w 1402565"/>
              <a:gd name="connsiteY70" fmla="*/ 2791 h 1571431"/>
              <a:gd name="connsiteX71" fmla="*/ 1182062 w 1402565"/>
              <a:gd name="connsiteY71" fmla="*/ 13956 h 1571431"/>
              <a:gd name="connsiteX72" fmla="*/ 1159733 w 1402565"/>
              <a:gd name="connsiteY72" fmla="*/ 25121 h 1571431"/>
              <a:gd name="connsiteX73" fmla="*/ 1265797 w 1402565"/>
              <a:gd name="connsiteY73" fmla="*/ 0 h 1571431"/>
              <a:gd name="connsiteX74" fmla="*/ 1279753 w 1402565"/>
              <a:gd name="connsiteY74" fmla="*/ 11165 h 1571431"/>
              <a:gd name="connsiteX75" fmla="*/ 1279753 w 1402565"/>
              <a:gd name="connsiteY75" fmla="*/ 25121 h 1571431"/>
              <a:gd name="connsiteX76" fmla="*/ 1285336 w 1402565"/>
              <a:gd name="connsiteY76" fmla="*/ 39077 h 1571431"/>
              <a:gd name="connsiteX77" fmla="*/ 1318830 w 1402565"/>
              <a:gd name="connsiteY77" fmla="*/ 30703 h 1571431"/>
              <a:gd name="connsiteX78" fmla="*/ 1316039 w 1402565"/>
              <a:gd name="connsiteY78" fmla="*/ 47450 h 1571431"/>
              <a:gd name="connsiteX79" fmla="*/ 1327203 w 1402565"/>
              <a:gd name="connsiteY79" fmla="*/ 41868 h 1571431"/>
              <a:gd name="connsiteX80" fmla="*/ 1335577 w 1402565"/>
              <a:gd name="connsiteY80" fmla="*/ 33494 h 1571431"/>
              <a:gd name="connsiteX81" fmla="*/ 1349533 w 1402565"/>
              <a:gd name="connsiteY81" fmla="*/ 33494 h 1571431"/>
              <a:gd name="connsiteX82" fmla="*/ 1383027 w 1402565"/>
              <a:gd name="connsiteY82" fmla="*/ 55824 h 1571431"/>
              <a:gd name="connsiteX83" fmla="*/ 1391400 w 1402565"/>
              <a:gd name="connsiteY83" fmla="*/ 64197 h 1571431"/>
              <a:gd name="connsiteX84" fmla="*/ 1396983 w 1402565"/>
              <a:gd name="connsiteY84" fmla="*/ 80944 h 1571431"/>
              <a:gd name="connsiteX85" fmla="*/ 1349533 w 1402565"/>
              <a:gd name="connsiteY85" fmla="*/ 117229 h 1571431"/>
              <a:gd name="connsiteX86" fmla="*/ 1321621 w 1402565"/>
              <a:gd name="connsiteY86" fmla="*/ 111647 h 1571431"/>
              <a:gd name="connsiteX87" fmla="*/ 1296500 w 1402565"/>
              <a:gd name="connsiteY87" fmla="*/ 111647 h 1571431"/>
              <a:gd name="connsiteX88" fmla="*/ 1329995 w 1402565"/>
              <a:gd name="connsiteY88" fmla="*/ 125603 h 1571431"/>
              <a:gd name="connsiteX89" fmla="*/ 1346741 w 1402565"/>
              <a:gd name="connsiteY89" fmla="*/ 128394 h 1571431"/>
              <a:gd name="connsiteX90" fmla="*/ 1352324 w 1402565"/>
              <a:gd name="connsiteY90" fmla="*/ 156306 h 1571431"/>
              <a:gd name="connsiteX91" fmla="*/ 1363489 w 1402565"/>
              <a:gd name="connsiteY91" fmla="*/ 156306 h 1571431"/>
              <a:gd name="connsiteX92" fmla="*/ 1374653 w 1402565"/>
              <a:gd name="connsiteY92" fmla="*/ 159097 h 1571431"/>
              <a:gd name="connsiteX93" fmla="*/ 1374653 w 1402565"/>
              <a:gd name="connsiteY93" fmla="*/ 150724 h 1571431"/>
              <a:gd name="connsiteX94" fmla="*/ 1369071 w 1402565"/>
              <a:gd name="connsiteY94" fmla="*/ 139559 h 1571431"/>
              <a:gd name="connsiteX95" fmla="*/ 1374653 w 1402565"/>
              <a:gd name="connsiteY95" fmla="*/ 136768 h 1571431"/>
              <a:gd name="connsiteX96" fmla="*/ 1396983 w 1402565"/>
              <a:gd name="connsiteY96" fmla="*/ 142350 h 1571431"/>
              <a:gd name="connsiteX97" fmla="*/ 1399774 w 1402565"/>
              <a:gd name="connsiteY97" fmla="*/ 142350 h 1571431"/>
              <a:gd name="connsiteX98" fmla="*/ 1402565 w 1402565"/>
              <a:gd name="connsiteY98" fmla="*/ 175844 h 1571431"/>
              <a:gd name="connsiteX99" fmla="*/ 1383027 w 1402565"/>
              <a:gd name="connsiteY99" fmla="*/ 175844 h 1571431"/>
              <a:gd name="connsiteX100" fmla="*/ 1371862 w 1402565"/>
              <a:gd name="connsiteY100" fmla="*/ 187009 h 1571431"/>
              <a:gd name="connsiteX101" fmla="*/ 1343950 w 1402565"/>
              <a:gd name="connsiteY101" fmla="*/ 212129 h 1571431"/>
              <a:gd name="connsiteX102" fmla="*/ 1343950 w 1402565"/>
              <a:gd name="connsiteY102" fmla="*/ 223294 h 1571431"/>
              <a:gd name="connsiteX103" fmla="*/ 1335577 w 1402565"/>
              <a:gd name="connsiteY103" fmla="*/ 248415 h 1571431"/>
              <a:gd name="connsiteX104" fmla="*/ 1332786 w 1402565"/>
              <a:gd name="connsiteY104" fmla="*/ 245623 h 1571431"/>
              <a:gd name="connsiteX105" fmla="*/ 1324412 w 1402565"/>
              <a:gd name="connsiteY105" fmla="*/ 234459 h 1571431"/>
              <a:gd name="connsiteX106" fmla="*/ 1329995 w 1402565"/>
              <a:gd name="connsiteY106" fmla="*/ 214921 h 1571431"/>
              <a:gd name="connsiteX107" fmla="*/ 1338368 w 1402565"/>
              <a:gd name="connsiteY107" fmla="*/ 195382 h 1571431"/>
              <a:gd name="connsiteX108" fmla="*/ 1329995 w 1402565"/>
              <a:gd name="connsiteY108" fmla="*/ 167471 h 1571431"/>
              <a:gd name="connsiteX109" fmla="*/ 1316039 w 1402565"/>
              <a:gd name="connsiteY109" fmla="*/ 161888 h 1571431"/>
              <a:gd name="connsiteX110" fmla="*/ 1296500 w 1402565"/>
              <a:gd name="connsiteY110" fmla="*/ 156306 h 1571431"/>
              <a:gd name="connsiteX111" fmla="*/ 1271380 w 1402565"/>
              <a:gd name="connsiteY111" fmla="*/ 125603 h 1571431"/>
              <a:gd name="connsiteX112" fmla="*/ 1232303 w 1402565"/>
              <a:gd name="connsiteY112" fmla="*/ 139559 h 1571431"/>
              <a:gd name="connsiteX113" fmla="*/ 1212765 w 1402565"/>
              <a:gd name="connsiteY113" fmla="*/ 150724 h 1571431"/>
              <a:gd name="connsiteX114" fmla="*/ 1198809 w 1402565"/>
              <a:gd name="connsiteY114" fmla="*/ 173053 h 1571431"/>
              <a:gd name="connsiteX115" fmla="*/ 1187645 w 1402565"/>
              <a:gd name="connsiteY115" fmla="*/ 214921 h 1571431"/>
              <a:gd name="connsiteX116" fmla="*/ 1184853 w 1402565"/>
              <a:gd name="connsiteY116" fmla="*/ 234459 h 1571431"/>
              <a:gd name="connsiteX117" fmla="*/ 1187645 w 1402565"/>
              <a:gd name="connsiteY117" fmla="*/ 253997 h 1571431"/>
              <a:gd name="connsiteX118" fmla="*/ 1156942 w 1402565"/>
              <a:gd name="connsiteY118" fmla="*/ 320985 h 1571431"/>
              <a:gd name="connsiteX119" fmla="*/ 1131821 w 1402565"/>
              <a:gd name="connsiteY119" fmla="*/ 307029 h 1571431"/>
              <a:gd name="connsiteX120" fmla="*/ 1117865 w 1402565"/>
              <a:gd name="connsiteY120" fmla="*/ 301447 h 1571431"/>
              <a:gd name="connsiteX121" fmla="*/ 1101118 w 1402565"/>
              <a:gd name="connsiteY121" fmla="*/ 309820 h 1571431"/>
              <a:gd name="connsiteX122" fmla="*/ 1078789 w 1402565"/>
              <a:gd name="connsiteY122" fmla="*/ 320985 h 1571431"/>
              <a:gd name="connsiteX123" fmla="*/ 1050877 w 1402565"/>
              <a:gd name="connsiteY123" fmla="*/ 312612 h 1571431"/>
              <a:gd name="connsiteX124" fmla="*/ 1031339 w 1402565"/>
              <a:gd name="connsiteY124" fmla="*/ 284700 h 1571431"/>
              <a:gd name="connsiteX125" fmla="*/ 1017383 w 1402565"/>
              <a:gd name="connsiteY125" fmla="*/ 262371 h 1571431"/>
              <a:gd name="connsiteX126" fmla="*/ 1006218 w 1402565"/>
              <a:gd name="connsiteY126" fmla="*/ 242832 h 1571431"/>
              <a:gd name="connsiteX127" fmla="*/ 992262 w 1402565"/>
              <a:gd name="connsiteY127" fmla="*/ 240041 h 1571431"/>
              <a:gd name="connsiteX128" fmla="*/ 978306 w 1402565"/>
              <a:gd name="connsiteY128" fmla="*/ 251206 h 1571431"/>
              <a:gd name="connsiteX129" fmla="*/ 958768 w 1402565"/>
              <a:gd name="connsiteY129" fmla="*/ 273535 h 1571431"/>
              <a:gd name="connsiteX130" fmla="*/ 936439 w 1402565"/>
              <a:gd name="connsiteY130" fmla="*/ 273535 h 1571431"/>
              <a:gd name="connsiteX131" fmla="*/ 944812 w 1402565"/>
              <a:gd name="connsiteY131" fmla="*/ 293073 h 1571431"/>
              <a:gd name="connsiteX132" fmla="*/ 942021 w 1402565"/>
              <a:gd name="connsiteY132" fmla="*/ 334941 h 1571431"/>
              <a:gd name="connsiteX133" fmla="*/ 922483 w 1402565"/>
              <a:gd name="connsiteY133" fmla="*/ 360062 h 1571431"/>
              <a:gd name="connsiteX134" fmla="*/ 861077 w 1402565"/>
              <a:gd name="connsiteY134" fmla="*/ 337732 h 1571431"/>
              <a:gd name="connsiteX135" fmla="*/ 841539 w 1402565"/>
              <a:gd name="connsiteY135" fmla="*/ 351688 h 1571431"/>
              <a:gd name="connsiteX136" fmla="*/ 844330 w 1402565"/>
              <a:gd name="connsiteY136" fmla="*/ 379600 h 1571431"/>
              <a:gd name="connsiteX137" fmla="*/ 834560 w 1402565"/>
              <a:gd name="connsiteY137" fmla="*/ 404720 h 1571431"/>
              <a:gd name="connsiteX138" fmla="*/ 815022 w 1402565"/>
              <a:gd name="connsiteY138" fmla="*/ 396347 h 1571431"/>
              <a:gd name="connsiteX139" fmla="*/ 803858 w 1402565"/>
              <a:gd name="connsiteY139" fmla="*/ 390765 h 1571431"/>
              <a:gd name="connsiteX140" fmla="*/ 784320 w 1402565"/>
              <a:gd name="connsiteY140" fmla="*/ 410303 h 1571431"/>
              <a:gd name="connsiteX141" fmla="*/ 770364 w 1402565"/>
              <a:gd name="connsiteY141" fmla="*/ 435423 h 1571431"/>
              <a:gd name="connsiteX142" fmla="*/ 750826 w 1402565"/>
              <a:gd name="connsiteY142" fmla="*/ 482873 h 1571431"/>
              <a:gd name="connsiteX143" fmla="*/ 753617 w 1402565"/>
              <a:gd name="connsiteY143" fmla="*/ 516367 h 1571431"/>
              <a:gd name="connsiteX144" fmla="*/ 734079 w 1402565"/>
              <a:gd name="connsiteY144" fmla="*/ 541488 h 1571431"/>
              <a:gd name="connsiteX145" fmla="*/ 708958 w 1402565"/>
              <a:gd name="connsiteY145" fmla="*/ 574982 h 1571431"/>
              <a:gd name="connsiteX146" fmla="*/ 700585 w 1402565"/>
              <a:gd name="connsiteY146" fmla="*/ 586147 h 1571431"/>
              <a:gd name="connsiteX147" fmla="*/ 703376 w 1402565"/>
              <a:gd name="connsiteY147" fmla="*/ 608476 h 1571431"/>
              <a:gd name="connsiteX148" fmla="*/ 672673 w 1402565"/>
              <a:gd name="connsiteY148" fmla="*/ 633597 h 1571431"/>
              <a:gd name="connsiteX149" fmla="*/ 655926 w 1402565"/>
              <a:gd name="connsiteY149" fmla="*/ 650344 h 1571431"/>
              <a:gd name="connsiteX150" fmla="*/ 650344 w 1402565"/>
              <a:gd name="connsiteY150" fmla="*/ 692211 h 1571431"/>
              <a:gd name="connsiteX151" fmla="*/ 644761 w 1402565"/>
              <a:gd name="connsiteY151" fmla="*/ 725705 h 1571431"/>
              <a:gd name="connsiteX152" fmla="*/ 630806 w 1402565"/>
              <a:gd name="connsiteY152" fmla="*/ 756408 h 1571431"/>
              <a:gd name="connsiteX153" fmla="*/ 597311 w 1402565"/>
              <a:gd name="connsiteY153" fmla="*/ 803858 h 1571431"/>
              <a:gd name="connsiteX154" fmla="*/ 611267 w 1402565"/>
              <a:gd name="connsiteY154" fmla="*/ 826188 h 1571431"/>
              <a:gd name="connsiteX155" fmla="*/ 616850 w 1402565"/>
              <a:gd name="connsiteY155" fmla="*/ 851308 h 1571431"/>
              <a:gd name="connsiteX156" fmla="*/ 614059 w 1402565"/>
              <a:gd name="connsiteY156" fmla="*/ 865264 h 1571431"/>
              <a:gd name="connsiteX157" fmla="*/ 602894 w 1402565"/>
              <a:gd name="connsiteY157" fmla="*/ 884802 h 1571431"/>
              <a:gd name="connsiteX158" fmla="*/ 588938 w 1402565"/>
              <a:gd name="connsiteY158" fmla="*/ 879220 h 1571431"/>
              <a:gd name="connsiteX159" fmla="*/ 555444 w 1402565"/>
              <a:gd name="connsiteY159" fmla="*/ 873638 h 1571431"/>
              <a:gd name="connsiteX160" fmla="*/ 533114 w 1402565"/>
              <a:gd name="connsiteY160" fmla="*/ 884802 h 1571431"/>
              <a:gd name="connsiteX161" fmla="*/ 502411 w 1402565"/>
              <a:gd name="connsiteY161" fmla="*/ 918296 h 1571431"/>
              <a:gd name="connsiteX162" fmla="*/ 494038 w 1402565"/>
              <a:gd name="connsiteY162" fmla="*/ 935043 h 1571431"/>
              <a:gd name="connsiteX163" fmla="*/ 480082 w 1402565"/>
              <a:gd name="connsiteY163" fmla="*/ 965746 h 1571431"/>
              <a:gd name="connsiteX164" fmla="*/ 480082 w 1402565"/>
              <a:gd name="connsiteY164" fmla="*/ 1032735 h 1571431"/>
              <a:gd name="connsiteX165" fmla="*/ 482873 w 1402565"/>
              <a:gd name="connsiteY165" fmla="*/ 1074602 h 1571431"/>
              <a:gd name="connsiteX166" fmla="*/ 477291 w 1402565"/>
              <a:gd name="connsiteY166" fmla="*/ 1110887 h 1571431"/>
              <a:gd name="connsiteX167" fmla="*/ 471709 w 1402565"/>
              <a:gd name="connsiteY167" fmla="*/ 1141590 h 1571431"/>
              <a:gd name="connsiteX168" fmla="*/ 477291 w 1402565"/>
              <a:gd name="connsiteY168" fmla="*/ 1169502 h 1571431"/>
              <a:gd name="connsiteX169" fmla="*/ 485664 w 1402565"/>
              <a:gd name="connsiteY169" fmla="*/ 1177876 h 1571431"/>
              <a:gd name="connsiteX170" fmla="*/ 502411 w 1402565"/>
              <a:gd name="connsiteY170" fmla="*/ 1197414 h 1571431"/>
              <a:gd name="connsiteX171" fmla="*/ 502411 w 1402565"/>
              <a:gd name="connsiteY171" fmla="*/ 1219743 h 1571431"/>
              <a:gd name="connsiteX172" fmla="*/ 488456 w 1402565"/>
              <a:gd name="connsiteY172" fmla="*/ 1242073 h 1571431"/>
              <a:gd name="connsiteX173" fmla="*/ 463335 w 1402565"/>
              <a:gd name="connsiteY173" fmla="*/ 1247655 h 1571431"/>
              <a:gd name="connsiteX174" fmla="*/ 474500 w 1402565"/>
              <a:gd name="connsiteY174" fmla="*/ 1289523 h 1571431"/>
              <a:gd name="connsiteX175" fmla="*/ 477291 w 1402565"/>
              <a:gd name="connsiteY175" fmla="*/ 1323017 h 1571431"/>
              <a:gd name="connsiteX176" fmla="*/ 466126 w 1402565"/>
              <a:gd name="connsiteY176" fmla="*/ 1364884 h 1571431"/>
              <a:gd name="connsiteX177" fmla="*/ 435423 w 1402565"/>
              <a:gd name="connsiteY177" fmla="*/ 1392796 h 1571431"/>
              <a:gd name="connsiteX178" fmla="*/ 410303 w 1402565"/>
              <a:gd name="connsiteY178" fmla="*/ 1417917 h 1571431"/>
              <a:gd name="connsiteX179" fmla="*/ 413094 w 1402565"/>
              <a:gd name="connsiteY179" fmla="*/ 1456993 h 1571431"/>
              <a:gd name="connsiteX180" fmla="*/ 396347 w 1402565"/>
              <a:gd name="connsiteY180" fmla="*/ 1501652 h 1571431"/>
              <a:gd name="connsiteX181" fmla="*/ 371226 w 1402565"/>
              <a:gd name="connsiteY181" fmla="*/ 1476531 h 1571431"/>
              <a:gd name="connsiteX182" fmla="*/ 354479 w 1402565"/>
              <a:gd name="connsiteY182" fmla="*/ 1465367 h 1571431"/>
              <a:gd name="connsiteX183" fmla="*/ 326567 w 1402565"/>
              <a:gd name="connsiteY183" fmla="*/ 1451411 h 1571431"/>
              <a:gd name="connsiteX184" fmla="*/ 293073 w 1402565"/>
              <a:gd name="connsiteY184" fmla="*/ 1479322 h 1571431"/>
              <a:gd name="connsiteX185" fmla="*/ 206547 w 1402565"/>
              <a:gd name="connsiteY185" fmla="*/ 1532355 h 1571431"/>
              <a:gd name="connsiteX186" fmla="*/ 164679 w 1402565"/>
              <a:gd name="connsiteY186" fmla="*/ 1563058 h 1571431"/>
              <a:gd name="connsiteX187" fmla="*/ 122812 w 1402565"/>
              <a:gd name="connsiteY187" fmla="*/ 1571431 h 1571431"/>
              <a:gd name="connsiteX188" fmla="*/ 55823 w 1402565"/>
              <a:gd name="connsiteY188" fmla="*/ 1540728 h 1571431"/>
              <a:gd name="connsiteX189" fmla="*/ 19538 w 1402565"/>
              <a:gd name="connsiteY189" fmla="*/ 1498861 h 1571431"/>
              <a:gd name="connsiteX190" fmla="*/ 0 w 1402565"/>
              <a:gd name="connsiteY190" fmla="*/ 1454202 h 1571431"/>
              <a:gd name="connsiteX191" fmla="*/ 13956 w 1402565"/>
              <a:gd name="connsiteY191" fmla="*/ 1434664 h 1571431"/>
              <a:gd name="connsiteX192" fmla="*/ 33494 w 1402565"/>
              <a:gd name="connsiteY192" fmla="*/ 1420708 h 1571431"/>
              <a:gd name="connsiteX193" fmla="*/ 61406 w 1402565"/>
              <a:gd name="connsiteY193" fmla="*/ 1390005 h 1571431"/>
              <a:gd name="connsiteX194" fmla="*/ 39076 w 1402565"/>
              <a:gd name="connsiteY194" fmla="*/ 1387214 h 1571431"/>
              <a:gd name="connsiteX195" fmla="*/ 16747 w 1402565"/>
              <a:gd name="connsiteY195" fmla="*/ 1390005 h 1571431"/>
              <a:gd name="connsiteX196" fmla="*/ 5582 w 1402565"/>
              <a:gd name="connsiteY196" fmla="*/ 1376049 h 1571431"/>
              <a:gd name="connsiteX197" fmla="*/ 11165 w 1402565"/>
              <a:gd name="connsiteY197" fmla="*/ 1348137 h 1571431"/>
              <a:gd name="connsiteX198" fmla="*/ 27912 w 1402565"/>
              <a:gd name="connsiteY198" fmla="*/ 1336973 h 1571431"/>
              <a:gd name="connsiteX199" fmla="*/ 50241 w 1402565"/>
              <a:gd name="connsiteY199" fmla="*/ 1314643 h 1571431"/>
              <a:gd name="connsiteX200" fmla="*/ 50241 w 1402565"/>
              <a:gd name="connsiteY200" fmla="*/ 1303478 h 1571431"/>
              <a:gd name="connsiteX201" fmla="*/ 44659 w 1402565"/>
              <a:gd name="connsiteY201" fmla="*/ 1283940 h 1571431"/>
              <a:gd name="connsiteX202" fmla="*/ 30703 w 1402565"/>
              <a:gd name="connsiteY202" fmla="*/ 1283940 h 1571431"/>
              <a:gd name="connsiteX203" fmla="*/ 25121 w 1402565"/>
              <a:gd name="connsiteY203" fmla="*/ 1253237 h 1571431"/>
              <a:gd name="connsiteX204" fmla="*/ 39076 w 1402565"/>
              <a:gd name="connsiteY204" fmla="*/ 1236490 h 1571431"/>
              <a:gd name="connsiteX205" fmla="*/ 39076 w 1402565"/>
              <a:gd name="connsiteY205" fmla="*/ 1197414 h 1571431"/>
              <a:gd name="connsiteX206" fmla="*/ 36285 w 1402565"/>
              <a:gd name="connsiteY206" fmla="*/ 1169502 h 1571431"/>
              <a:gd name="connsiteX207" fmla="*/ 39076 w 1402565"/>
              <a:gd name="connsiteY207" fmla="*/ 1152755 h 1571431"/>
              <a:gd name="connsiteX208" fmla="*/ 53032 w 1402565"/>
              <a:gd name="connsiteY208" fmla="*/ 1136008 h 1571431"/>
              <a:gd name="connsiteX209" fmla="*/ 55823 w 1402565"/>
              <a:gd name="connsiteY209" fmla="*/ 1116470 h 1571431"/>
              <a:gd name="connsiteX210" fmla="*/ 50241 w 1402565"/>
              <a:gd name="connsiteY210" fmla="*/ 1091349 h 1571431"/>
              <a:gd name="connsiteX211" fmla="*/ 69779 w 1402565"/>
              <a:gd name="connsiteY211" fmla="*/ 1074602 h 1571431"/>
              <a:gd name="connsiteX212" fmla="*/ 72571 w 1402565"/>
              <a:gd name="connsiteY212" fmla="*/ 1032735 h 1571431"/>
              <a:gd name="connsiteX213" fmla="*/ 106065 w 1402565"/>
              <a:gd name="connsiteY213" fmla="*/ 1035526 h 1571431"/>
              <a:gd name="connsiteX214" fmla="*/ 128394 w 1402565"/>
              <a:gd name="connsiteY214" fmla="*/ 1029943 h 1571431"/>
              <a:gd name="connsiteX215" fmla="*/ 147932 w 1402565"/>
              <a:gd name="connsiteY215" fmla="*/ 996449 h 1571431"/>
              <a:gd name="connsiteX216" fmla="*/ 156306 w 1402565"/>
              <a:gd name="connsiteY216" fmla="*/ 996449 h 1571431"/>
              <a:gd name="connsiteX217" fmla="*/ 187009 w 1402565"/>
              <a:gd name="connsiteY217" fmla="*/ 999240 h 1571431"/>
              <a:gd name="connsiteX218" fmla="*/ 192591 w 1402565"/>
              <a:gd name="connsiteY218" fmla="*/ 988076 h 1571431"/>
              <a:gd name="connsiteX219" fmla="*/ 195382 w 1402565"/>
              <a:gd name="connsiteY219" fmla="*/ 962955 h 1571431"/>
              <a:gd name="connsiteX220" fmla="*/ 217712 w 1402565"/>
              <a:gd name="connsiteY220" fmla="*/ 957373 h 1571431"/>
              <a:gd name="connsiteX221" fmla="*/ 251206 w 1402565"/>
              <a:gd name="connsiteY221" fmla="*/ 968538 h 1571431"/>
              <a:gd name="connsiteX222" fmla="*/ 262370 w 1402565"/>
              <a:gd name="connsiteY222" fmla="*/ 951791 h 1571431"/>
              <a:gd name="connsiteX223" fmla="*/ 295865 w 1402565"/>
              <a:gd name="connsiteY223" fmla="*/ 926670 h 1571431"/>
              <a:gd name="connsiteX224" fmla="*/ 334941 w 1402565"/>
              <a:gd name="connsiteY224" fmla="*/ 923879 h 1571431"/>
              <a:gd name="connsiteX225" fmla="*/ 337732 w 1402565"/>
              <a:gd name="connsiteY225" fmla="*/ 912714 h 1571431"/>
              <a:gd name="connsiteX226" fmla="*/ 360062 w 1402565"/>
              <a:gd name="connsiteY226" fmla="*/ 904341 h 1571431"/>
              <a:gd name="connsiteX227" fmla="*/ 360062 w 1402565"/>
              <a:gd name="connsiteY227" fmla="*/ 882011 h 1571431"/>
              <a:gd name="connsiteX228" fmla="*/ 385182 w 1402565"/>
              <a:gd name="connsiteY228" fmla="*/ 851308 h 1571431"/>
              <a:gd name="connsiteX229" fmla="*/ 404720 w 1402565"/>
              <a:gd name="connsiteY229" fmla="*/ 834561 h 1571431"/>
              <a:gd name="connsiteX230" fmla="*/ 421467 w 1402565"/>
              <a:gd name="connsiteY230" fmla="*/ 812232 h 1571431"/>
              <a:gd name="connsiteX231" fmla="*/ 441006 w 1402565"/>
              <a:gd name="connsiteY231" fmla="*/ 820605 h 1571431"/>
              <a:gd name="connsiteX232" fmla="*/ 441006 w 1402565"/>
              <a:gd name="connsiteY232" fmla="*/ 801067 h 1571431"/>
              <a:gd name="connsiteX233" fmla="*/ 454962 w 1402565"/>
              <a:gd name="connsiteY233" fmla="*/ 801067 h 1571431"/>
              <a:gd name="connsiteX234" fmla="*/ 466126 w 1402565"/>
              <a:gd name="connsiteY234" fmla="*/ 817814 h 1571431"/>
              <a:gd name="connsiteX235" fmla="*/ 480082 w 1402565"/>
              <a:gd name="connsiteY235" fmla="*/ 803858 h 1571431"/>
              <a:gd name="connsiteX236" fmla="*/ 474500 w 1402565"/>
              <a:gd name="connsiteY236" fmla="*/ 787111 h 1571431"/>
              <a:gd name="connsiteX237" fmla="*/ 466126 w 1402565"/>
              <a:gd name="connsiteY237" fmla="*/ 775947 h 1571431"/>
              <a:gd name="connsiteX238" fmla="*/ 482873 w 1402565"/>
              <a:gd name="connsiteY238" fmla="*/ 756408 h 1571431"/>
              <a:gd name="connsiteX239" fmla="*/ 510785 w 1402565"/>
              <a:gd name="connsiteY239" fmla="*/ 742452 h 1571431"/>
              <a:gd name="connsiteX240" fmla="*/ 527532 w 1402565"/>
              <a:gd name="connsiteY240" fmla="*/ 745244 h 1571431"/>
              <a:gd name="connsiteX241" fmla="*/ 541488 w 1402565"/>
              <a:gd name="connsiteY241" fmla="*/ 714541 h 1571431"/>
              <a:gd name="connsiteX242" fmla="*/ 538697 w 1402565"/>
              <a:gd name="connsiteY242" fmla="*/ 681047 h 1571431"/>
              <a:gd name="connsiteX243" fmla="*/ 544279 w 1402565"/>
              <a:gd name="connsiteY243" fmla="*/ 661508 h 1571431"/>
              <a:gd name="connsiteX244" fmla="*/ 561026 w 1402565"/>
              <a:gd name="connsiteY244" fmla="*/ 628014 h 1571431"/>
              <a:gd name="connsiteX245" fmla="*/ 569400 w 1402565"/>
              <a:gd name="connsiteY245" fmla="*/ 619641 h 1571431"/>
              <a:gd name="connsiteX246" fmla="*/ 580564 w 1402565"/>
              <a:gd name="connsiteY246" fmla="*/ 591729 h 1571431"/>
              <a:gd name="connsiteX247" fmla="*/ 588938 w 1402565"/>
              <a:gd name="connsiteY247" fmla="*/ 566608 h 1571431"/>
              <a:gd name="connsiteX248" fmla="*/ 622432 w 1402565"/>
              <a:gd name="connsiteY248" fmla="*/ 521950 h 1571431"/>
              <a:gd name="connsiteX249" fmla="*/ 644761 w 1402565"/>
              <a:gd name="connsiteY249" fmla="*/ 519159 h 1571431"/>
              <a:gd name="connsiteX250" fmla="*/ 664300 w 1402565"/>
              <a:gd name="connsiteY250" fmla="*/ 496829 h 1571431"/>
              <a:gd name="connsiteX251" fmla="*/ 683838 w 1402565"/>
              <a:gd name="connsiteY251" fmla="*/ 494038 h 1571431"/>
              <a:gd name="connsiteX252" fmla="*/ 683838 w 1402565"/>
              <a:gd name="connsiteY252" fmla="*/ 488456 h 1571431"/>
              <a:gd name="connsiteX253" fmla="*/ 681047 w 1402565"/>
              <a:gd name="connsiteY253" fmla="*/ 454962 h 1571431"/>
              <a:gd name="connsiteX254" fmla="*/ 700585 w 1402565"/>
              <a:gd name="connsiteY254" fmla="*/ 427050 h 1571431"/>
              <a:gd name="connsiteX255" fmla="*/ 686629 w 1402565"/>
              <a:gd name="connsiteY255" fmla="*/ 421467 h 1571431"/>
              <a:gd name="connsiteX256" fmla="*/ 695003 w 1402565"/>
              <a:gd name="connsiteY256" fmla="*/ 410303 h 1571431"/>
              <a:gd name="connsiteX257" fmla="*/ 708958 w 1402565"/>
              <a:gd name="connsiteY257" fmla="*/ 407512 h 1571431"/>
              <a:gd name="connsiteX258" fmla="*/ 734079 w 1402565"/>
              <a:gd name="connsiteY258" fmla="*/ 407512 h 1571431"/>
              <a:gd name="connsiteX259" fmla="*/ 742453 w 1402565"/>
              <a:gd name="connsiteY259" fmla="*/ 396347 h 1571431"/>
              <a:gd name="connsiteX260" fmla="*/ 753617 w 1402565"/>
              <a:gd name="connsiteY260" fmla="*/ 401929 h 1571431"/>
              <a:gd name="connsiteX261" fmla="*/ 778738 w 1402565"/>
              <a:gd name="connsiteY261" fmla="*/ 390765 h 1571431"/>
              <a:gd name="connsiteX262" fmla="*/ 767573 w 1402565"/>
              <a:gd name="connsiteY262" fmla="*/ 374017 h 1571431"/>
              <a:gd name="connsiteX263" fmla="*/ 770364 w 1402565"/>
              <a:gd name="connsiteY263" fmla="*/ 346106 h 1571431"/>
              <a:gd name="connsiteX264" fmla="*/ 775947 w 1402565"/>
              <a:gd name="connsiteY264" fmla="*/ 323776 h 1571431"/>
              <a:gd name="connsiteX265" fmla="*/ 787111 w 1402565"/>
              <a:gd name="connsiteY265" fmla="*/ 315403 h 1571431"/>
              <a:gd name="connsiteX266" fmla="*/ 803858 w 1402565"/>
              <a:gd name="connsiteY266" fmla="*/ 301447 h 1571431"/>
              <a:gd name="connsiteX267" fmla="*/ 817813 w 1402565"/>
              <a:gd name="connsiteY267" fmla="*/ 287491 h 1571431"/>
              <a:gd name="connsiteX268" fmla="*/ 828978 w 1402565"/>
              <a:gd name="connsiteY268" fmla="*/ 265162 h 1571431"/>
              <a:gd name="connsiteX269" fmla="*/ 852703 w 1402565"/>
              <a:gd name="connsiteY269" fmla="*/ 220503 h 1571431"/>
              <a:gd name="connsiteX270" fmla="*/ 863868 w 1402565"/>
              <a:gd name="connsiteY270" fmla="*/ 214921 h 1571431"/>
              <a:gd name="connsiteX271" fmla="*/ 869451 w 1402565"/>
              <a:gd name="connsiteY271" fmla="*/ 209338 h 1571431"/>
              <a:gd name="connsiteX272" fmla="*/ 883406 w 1402565"/>
              <a:gd name="connsiteY272" fmla="*/ 198174 h 1571431"/>
              <a:gd name="connsiteX273" fmla="*/ 942021 w 1402565"/>
              <a:gd name="connsiteY273" fmla="*/ 159097 h 1571431"/>
              <a:gd name="connsiteX274" fmla="*/ 947603 w 1402565"/>
              <a:gd name="connsiteY274" fmla="*/ 167471 h 1571431"/>
              <a:gd name="connsiteX275" fmla="*/ 955977 w 1402565"/>
              <a:gd name="connsiteY275" fmla="*/ 184218 h 1571431"/>
              <a:gd name="connsiteX276" fmla="*/ 969933 w 1402565"/>
              <a:gd name="connsiteY276" fmla="*/ 173053 h 1571431"/>
              <a:gd name="connsiteX277" fmla="*/ 983889 w 1402565"/>
              <a:gd name="connsiteY277" fmla="*/ 156306 h 1571431"/>
              <a:gd name="connsiteX278" fmla="*/ 983889 w 1402565"/>
              <a:gd name="connsiteY278" fmla="*/ 128394 h 1571431"/>
              <a:gd name="connsiteX279" fmla="*/ 1020174 w 1402565"/>
              <a:gd name="connsiteY279" fmla="*/ 117229 h 1571431"/>
              <a:gd name="connsiteX280" fmla="*/ 1039712 w 1402565"/>
              <a:gd name="connsiteY280" fmla="*/ 122812 h 1571431"/>
              <a:gd name="connsiteX281" fmla="*/ 1056459 w 1402565"/>
              <a:gd name="connsiteY281" fmla="*/ 128394 h 1571431"/>
              <a:gd name="connsiteX282" fmla="*/ 1081580 w 1402565"/>
              <a:gd name="connsiteY282" fmla="*/ 114438 h 1571431"/>
              <a:gd name="connsiteX283" fmla="*/ 1095536 w 1402565"/>
              <a:gd name="connsiteY283" fmla="*/ 75362 h 1571431"/>
              <a:gd name="connsiteX284" fmla="*/ 1106701 w 1402565"/>
              <a:gd name="connsiteY284" fmla="*/ 47450 h 1571431"/>
              <a:gd name="connsiteX285" fmla="*/ 1120656 w 1402565"/>
              <a:gd name="connsiteY285" fmla="*/ 50241 h 1571431"/>
              <a:gd name="connsiteX286" fmla="*/ 1126239 w 1402565"/>
              <a:gd name="connsiteY286" fmla="*/ 27912 h 1571431"/>
              <a:gd name="connsiteX287" fmla="*/ 1145777 w 1402565"/>
              <a:gd name="connsiteY287" fmla="*/ 27912 h 1571431"/>
              <a:gd name="connsiteX288" fmla="*/ 1162524 w 1402565"/>
              <a:gd name="connsiteY288" fmla="*/ 30703 h 1571431"/>
              <a:gd name="connsiteX289" fmla="*/ 1176480 w 1402565"/>
              <a:gd name="connsiteY289" fmla="*/ 36285 h 1571431"/>
              <a:gd name="connsiteX290" fmla="*/ 1162524 w 1402565"/>
              <a:gd name="connsiteY290" fmla="*/ 61406 h 1571431"/>
              <a:gd name="connsiteX291" fmla="*/ 1148568 w 1402565"/>
              <a:gd name="connsiteY291" fmla="*/ 83735 h 1571431"/>
              <a:gd name="connsiteX292" fmla="*/ 1142986 w 1402565"/>
              <a:gd name="connsiteY292" fmla="*/ 128394 h 1571431"/>
              <a:gd name="connsiteX293" fmla="*/ 1151359 w 1402565"/>
              <a:gd name="connsiteY293" fmla="*/ 139559 h 1571431"/>
              <a:gd name="connsiteX294" fmla="*/ 1162524 w 1402565"/>
              <a:gd name="connsiteY294" fmla="*/ 117229 h 1571431"/>
              <a:gd name="connsiteX295" fmla="*/ 1170897 w 1402565"/>
              <a:gd name="connsiteY295" fmla="*/ 86527 h 1571431"/>
              <a:gd name="connsiteX296" fmla="*/ 1193227 w 1402565"/>
              <a:gd name="connsiteY296" fmla="*/ 33494 h 1571431"/>
              <a:gd name="connsiteX297" fmla="*/ 1207183 w 1402565"/>
              <a:gd name="connsiteY297" fmla="*/ 41868 h 1571431"/>
              <a:gd name="connsiteX298" fmla="*/ 1207183 w 1402565"/>
              <a:gd name="connsiteY298" fmla="*/ 72571 h 1571431"/>
              <a:gd name="connsiteX299" fmla="*/ 1207183 w 1402565"/>
              <a:gd name="connsiteY299" fmla="*/ 94900 h 1571431"/>
              <a:gd name="connsiteX300" fmla="*/ 1221139 w 1402565"/>
              <a:gd name="connsiteY300" fmla="*/ 83735 h 1571431"/>
              <a:gd name="connsiteX301" fmla="*/ 1226721 w 1402565"/>
              <a:gd name="connsiteY301" fmla="*/ 47450 h 1571431"/>
              <a:gd name="connsiteX302" fmla="*/ 1223930 w 1402565"/>
              <a:gd name="connsiteY302" fmla="*/ 25121 h 1571431"/>
              <a:gd name="connsiteX303" fmla="*/ 1237886 w 1402565"/>
              <a:gd name="connsiteY303" fmla="*/ 8374 h 157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402565" h="1571431">
                <a:moveTo>
                  <a:pt x="323776" y="893177"/>
                </a:moveTo>
                <a:lnTo>
                  <a:pt x="332150" y="907133"/>
                </a:lnTo>
                <a:lnTo>
                  <a:pt x="332150" y="909924"/>
                </a:lnTo>
                <a:lnTo>
                  <a:pt x="281909" y="912715"/>
                </a:lnTo>
                <a:lnTo>
                  <a:pt x="304238" y="895968"/>
                </a:lnTo>
                <a:close/>
                <a:moveTo>
                  <a:pt x="527532" y="681047"/>
                </a:moveTo>
                <a:lnTo>
                  <a:pt x="535906" y="706168"/>
                </a:lnTo>
                <a:lnTo>
                  <a:pt x="513576" y="722915"/>
                </a:lnTo>
                <a:close/>
                <a:moveTo>
                  <a:pt x="636388" y="354479"/>
                </a:moveTo>
                <a:lnTo>
                  <a:pt x="658717" y="360062"/>
                </a:lnTo>
                <a:lnTo>
                  <a:pt x="644761" y="376809"/>
                </a:lnTo>
                <a:lnTo>
                  <a:pt x="628014" y="385182"/>
                </a:lnTo>
                <a:close/>
                <a:moveTo>
                  <a:pt x="678255" y="343315"/>
                </a:moveTo>
                <a:lnTo>
                  <a:pt x="703376" y="343315"/>
                </a:lnTo>
                <a:lnTo>
                  <a:pt x="678255" y="368435"/>
                </a:lnTo>
                <a:lnTo>
                  <a:pt x="664300" y="374017"/>
                </a:lnTo>
                <a:lnTo>
                  <a:pt x="655926" y="374017"/>
                </a:lnTo>
                <a:close/>
                <a:moveTo>
                  <a:pt x="756408" y="284700"/>
                </a:moveTo>
                <a:lnTo>
                  <a:pt x="773155" y="332150"/>
                </a:lnTo>
                <a:lnTo>
                  <a:pt x="750826" y="348897"/>
                </a:lnTo>
                <a:lnTo>
                  <a:pt x="736870" y="357270"/>
                </a:lnTo>
                <a:lnTo>
                  <a:pt x="700585" y="362853"/>
                </a:lnTo>
                <a:lnTo>
                  <a:pt x="728497" y="295865"/>
                </a:lnTo>
                <a:close/>
                <a:moveTo>
                  <a:pt x="708958" y="265162"/>
                </a:moveTo>
                <a:lnTo>
                  <a:pt x="717332" y="309820"/>
                </a:lnTo>
                <a:lnTo>
                  <a:pt x="692211" y="312612"/>
                </a:lnTo>
                <a:lnTo>
                  <a:pt x="675464" y="312612"/>
                </a:lnTo>
                <a:lnTo>
                  <a:pt x="678255" y="290282"/>
                </a:lnTo>
                <a:lnTo>
                  <a:pt x="695003" y="276326"/>
                </a:lnTo>
                <a:close/>
                <a:moveTo>
                  <a:pt x="761991" y="242832"/>
                </a:moveTo>
                <a:lnTo>
                  <a:pt x="742453" y="273535"/>
                </a:lnTo>
                <a:lnTo>
                  <a:pt x="725705" y="284700"/>
                </a:lnTo>
                <a:lnTo>
                  <a:pt x="748035" y="245623"/>
                </a:lnTo>
                <a:close/>
                <a:moveTo>
                  <a:pt x="834560" y="206547"/>
                </a:moveTo>
                <a:lnTo>
                  <a:pt x="838748" y="231668"/>
                </a:lnTo>
                <a:lnTo>
                  <a:pt x="828978" y="251206"/>
                </a:lnTo>
                <a:lnTo>
                  <a:pt x="789903" y="267953"/>
                </a:lnTo>
                <a:lnTo>
                  <a:pt x="792694" y="251206"/>
                </a:lnTo>
                <a:lnTo>
                  <a:pt x="784320" y="242832"/>
                </a:lnTo>
                <a:lnTo>
                  <a:pt x="787111" y="223294"/>
                </a:lnTo>
                <a:lnTo>
                  <a:pt x="803858" y="209338"/>
                </a:lnTo>
                <a:close/>
                <a:moveTo>
                  <a:pt x="875033" y="164679"/>
                </a:moveTo>
                <a:lnTo>
                  <a:pt x="883406" y="173053"/>
                </a:lnTo>
                <a:lnTo>
                  <a:pt x="869451" y="203756"/>
                </a:lnTo>
                <a:lnTo>
                  <a:pt x="844330" y="206547"/>
                </a:lnTo>
                <a:lnTo>
                  <a:pt x="835957" y="198174"/>
                </a:lnTo>
                <a:lnTo>
                  <a:pt x="863868" y="167471"/>
                </a:lnTo>
                <a:close/>
                <a:moveTo>
                  <a:pt x="908527" y="139559"/>
                </a:moveTo>
                <a:lnTo>
                  <a:pt x="919692" y="147932"/>
                </a:lnTo>
                <a:lnTo>
                  <a:pt x="914109" y="161888"/>
                </a:lnTo>
                <a:lnTo>
                  <a:pt x="894571" y="173053"/>
                </a:lnTo>
                <a:lnTo>
                  <a:pt x="880615" y="159097"/>
                </a:lnTo>
                <a:lnTo>
                  <a:pt x="883406" y="147932"/>
                </a:lnTo>
                <a:close/>
                <a:moveTo>
                  <a:pt x="911318" y="125603"/>
                </a:moveTo>
                <a:lnTo>
                  <a:pt x="936439" y="139559"/>
                </a:lnTo>
                <a:lnTo>
                  <a:pt x="928065" y="147932"/>
                </a:lnTo>
                <a:close/>
                <a:moveTo>
                  <a:pt x="1078789" y="75362"/>
                </a:moveTo>
                <a:lnTo>
                  <a:pt x="1078789" y="103274"/>
                </a:lnTo>
                <a:lnTo>
                  <a:pt x="1064833" y="120021"/>
                </a:lnTo>
                <a:lnTo>
                  <a:pt x="1050877" y="103274"/>
                </a:lnTo>
                <a:lnTo>
                  <a:pt x="1064833" y="80944"/>
                </a:lnTo>
                <a:close/>
                <a:moveTo>
                  <a:pt x="1031339" y="66988"/>
                </a:moveTo>
                <a:lnTo>
                  <a:pt x="1042503" y="69780"/>
                </a:lnTo>
                <a:lnTo>
                  <a:pt x="1039712" y="72571"/>
                </a:lnTo>
                <a:lnTo>
                  <a:pt x="1020174" y="94900"/>
                </a:lnTo>
                <a:lnTo>
                  <a:pt x="1028548" y="80944"/>
                </a:lnTo>
                <a:close/>
                <a:moveTo>
                  <a:pt x="1081580" y="53032"/>
                </a:moveTo>
                <a:lnTo>
                  <a:pt x="1095536" y="58615"/>
                </a:lnTo>
                <a:lnTo>
                  <a:pt x="1087162" y="80944"/>
                </a:lnTo>
                <a:close/>
                <a:moveTo>
                  <a:pt x="1151359" y="2791"/>
                </a:moveTo>
                <a:lnTo>
                  <a:pt x="1170897" y="2791"/>
                </a:lnTo>
                <a:lnTo>
                  <a:pt x="1182062" y="13956"/>
                </a:lnTo>
                <a:lnTo>
                  <a:pt x="1159733" y="25121"/>
                </a:lnTo>
                <a:close/>
                <a:moveTo>
                  <a:pt x="1265797" y="0"/>
                </a:moveTo>
                <a:lnTo>
                  <a:pt x="1279753" y="11165"/>
                </a:lnTo>
                <a:lnTo>
                  <a:pt x="1279753" y="25121"/>
                </a:lnTo>
                <a:lnTo>
                  <a:pt x="1285336" y="39077"/>
                </a:lnTo>
                <a:lnTo>
                  <a:pt x="1318830" y="30703"/>
                </a:lnTo>
                <a:lnTo>
                  <a:pt x="1316039" y="47450"/>
                </a:lnTo>
                <a:lnTo>
                  <a:pt x="1327203" y="41868"/>
                </a:lnTo>
                <a:lnTo>
                  <a:pt x="1335577" y="33494"/>
                </a:lnTo>
                <a:lnTo>
                  <a:pt x="1349533" y="33494"/>
                </a:lnTo>
                <a:lnTo>
                  <a:pt x="1383027" y="55824"/>
                </a:lnTo>
                <a:lnTo>
                  <a:pt x="1391400" y="64197"/>
                </a:lnTo>
                <a:lnTo>
                  <a:pt x="1396983" y="80944"/>
                </a:lnTo>
                <a:lnTo>
                  <a:pt x="1349533" y="117229"/>
                </a:lnTo>
                <a:lnTo>
                  <a:pt x="1321621" y="111647"/>
                </a:lnTo>
                <a:lnTo>
                  <a:pt x="1296500" y="111647"/>
                </a:lnTo>
                <a:lnTo>
                  <a:pt x="1329995" y="125603"/>
                </a:lnTo>
                <a:lnTo>
                  <a:pt x="1346741" y="128394"/>
                </a:lnTo>
                <a:lnTo>
                  <a:pt x="1352324" y="156306"/>
                </a:lnTo>
                <a:lnTo>
                  <a:pt x="1363489" y="156306"/>
                </a:lnTo>
                <a:lnTo>
                  <a:pt x="1374653" y="159097"/>
                </a:lnTo>
                <a:lnTo>
                  <a:pt x="1374653" y="150724"/>
                </a:lnTo>
                <a:lnTo>
                  <a:pt x="1369071" y="139559"/>
                </a:lnTo>
                <a:lnTo>
                  <a:pt x="1374653" y="136768"/>
                </a:lnTo>
                <a:lnTo>
                  <a:pt x="1396983" y="142350"/>
                </a:lnTo>
                <a:lnTo>
                  <a:pt x="1399774" y="142350"/>
                </a:lnTo>
                <a:lnTo>
                  <a:pt x="1402565" y="175844"/>
                </a:lnTo>
                <a:lnTo>
                  <a:pt x="1383027" y="175844"/>
                </a:lnTo>
                <a:lnTo>
                  <a:pt x="1371862" y="187009"/>
                </a:lnTo>
                <a:lnTo>
                  <a:pt x="1343950" y="212129"/>
                </a:lnTo>
                <a:lnTo>
                  <a:pt x="1343950" y="223294"/>
                </a:lnTo>
                <a:lnTo>
                  <a:pt x="1335577" y="248415"/>
                </a:lnTo>
                <a:lnTo>
                  <a:pt x="1332786" y="245623"/>
                </a:lnTo>
                <a:lnTo>
                  <a:pt x="1324412" y="234459"/>
                </a:lnTo>
                <a:lnTo>
                  <a:pt x="1329995" y="214921"/>
                </a:lnTo>
                <a:lnTo>
                  <a:pt x="1338368" y="195382"/>
                </a:lnTo>
                <a:lnTo>
                  <a:pt x="1329995" y="167471"/>
                </a:lnTo>
                <a:lnTo>
                  <a:pt x="1316039" y="161888"/>
                </a:lnTo>
                <a:lnTo>
                  <a:pt x="1296500" y="156306"/>
                </a:lnTo>
                <a:lnTo>
                  <a:pt x="1271380" y="125603"/>
                </a:lnTo>
                <a:lnTo>
                  <a:pt x="1232303" y="139559"/>
                </a:lnTo>
                <a:lnTo>
                  <a:pt x="1212765" y="150724"/>
                </a:lnTo>
                <a:lnTo>
                  <a:pt x="1198809" y="173053"/>
                </a:lnTo>
                <a:lnTo>
                  <a:pt x="1187645" y="214921"/>
                </a:lnTo>
                <a:lnTo>
                  <a:pt x="1184853" y="234459"/>
                </a:lnTo>
                <a:lnTo>
                  <a:pt x="1187645" y="253997"/>
                </a:lnTo>
                <a:lnTo>
                  <a:pt x="1156942" y="320985"/>
                </a:lnTo>
                <a:lnTo>
                  <a:pt x="1131821" y="307029"/>
                </a:lnTo>
                <a:lnTo>
                  <a:pt x="1117865" y="301447"/>
                </a:lnTo>
                <a:lnTo>
                  <a:pt x="1101118" y="309820"/>
                </a:lnTo>
                <a:lnTo>
                  <a:pt x="1078789" y="320985"/>
                </a:lnTo>
                <a:lnTo>
                  <a:pt x="1050877" y="312612"/>
                </a:lnTo>
                <a:lnTo>
                  <a:pt x="1031339" y="284700"/>
                </a:lnTo>
                <a:lnTo>
                  <a:pt x="1017383" y="262371"/>
                </a:lnTo>
                <a:lnTo>
                  <a:pt x="1006218" y="242832"/>
                </a:lnTo>
                <a:lnTo>
                  <a:pt x="992262" y="240041"/>
                </a:lnTo>
                <a:lnTo>
                  <a:pt x="978306" y="251206"/>
                </a:lnTo>
                <a:lnTo>
                  <a:pt x="958768" y="273535"/>
                </a:lnTo>
                <a:lnTo>
                  <a:pt x="936439" y="273535"/>
                </a:lnTo>
                <a:lnTo>
                  <a:pt x="944812" y="293073"/>
                </a:lnTo>
                <a:lnTo>
                  <a:pt x="942021" y="334941"/>
                </a:lnTo>
                <a:lnTo>
                  <a:pt x="922483" y="360062"/>
                </a:lnTo>
                <a:lnTo>
                  <a:pt x="861077" y="337732"/>
                </a:lnTo>
                <a:lnTo>
                  <a:pt x="841539" y="351688"/>
                </a:lnTo>
                <a:lnTo>
                  <a:pt x="844330" y="379600"/>
                </a:lnTo>
                <a:lnTo>
                  <a:pt x="834560" y="404720"/>
                </a:lnTo>
                <a:lnTo>
                  <a:pt x="815022" y="396347"/>
                </a:lnTo>
                <a:lnTo>
                  <a:pt x="803858" y="390765"/>
                </a:lnTo>
                <a:lnTo>
                  <a:pt x="784320" y="410303"/>
                </a:lnTo>
                <a:lnTo>
                  <a:pt x="770364" y="435423"/>
                </a:lnTo>
                <a:lnTo>
                  <a:pt x="750826" y="482873"/>
                </a:lnTo>
                <a:lnTo>
                  <a:pt x="753617" y="516367"/>
                </a:lnTo>
                <a:lnTo>
                  <a:pt x="734079" y="541488"/>
                </a:lnTo>
                <a:lnTo>
                  <a:pt x="708958" y="574982"/>
                </a:lnTo>
                <a:lnTo>
                  <a:pt x="700585" y="586147"/>
                </a:lnTo>
                <a:lnTo>
                  <a:pt x="703376" y="608476"/>
                </a:lnTo>
                <a:lnTo>
                  <a:pt x="672673" y="633597"/>
                </a:lnTo>
                <a:lnTo>
                  <a:pt x="655926" y="650344"/>
                </a:lnTo>
                <a:lnTo>
                  <a:pt x="650344" y="692211"/>
                </a:lnTo>
                <a:lnTo>
                  <a:pt x="644761" y="725705"/>
                </a:lnTo>
                <a:lnTo>
                  <a:pt x="630806" y="756408"/>
                </a:lnTo>
                <a:lnTo>
                  <a:pt x="597311" y="803858"/>
                </a:lnTo>
                <a:lnTo>
                  <a:pt x="611267" y="826188"/>
                </a:lnTo>
                <a:lnTo>
                  <a:pt x="616850" y="851308"/>
                </a:lnTo>
                <a:lnTo>
                  <a:pt x="614059" y="865264"/>
                </a:lnTo>
                <a:lnTo>
                  <a:pt x="602894" y="884802"/>
                </a:lnTo>
                <a:lnTo>
                  <a:pt x="588938" y="879220"/>
                </a:lnTo>
                <a:lnTo>
                  <a:pt x="555444" y="873638"/>
                </a:lnTo>
                <a:lnTo>
                  <a:pt x="533114" y="884802"/>
                </a:lnTo>
                <a:lnTo>
                  <a:pt x="502411" y="918296"/>
                </a:lnTo>
                <a:lnTo>
                  <a:pt x="494038" y="935043"/>
                </a:lnTo>
                <a:lnTo>
                  <a:pt x="480082" y="965746"/>
                </a:lnTo>
                <a:lnTo>
                  <a:pt x="480082" y="1032735"/>
                </a:lnTo>
                <a:lnTo>
                  <a:pt x="482873" y="1074602"/>
                </a:lnTo>
                <a:lnTo>
                  <a:pt x="477291" y="1110887"/>
                </a:lnTo>
                <a:lnTo>
                  <a:pt x="471709" y="1141590"/>
                </a:lnTo>
                <a:lnTo>
                  <a:pt x="477291" y="1169502"/>
                </a:lnTo>
                <a:lnTo>
                  <a:pt x="485664" y="1177876"/>
                </a:lnTo>
                <a:lnTo>
                  <a:pt x="502411" y="1197414"/>
                </a:lnTo>
                <a:lnTo>
                  <a:pt x="502411" y="1219743"/>
                </a:lnTo>
                <a:lnTo>
                  <a:pt x="488456" y="1242073"/>
                </a:lnTo>
                <a:lnTo>
                  <a:pt x="463335" y="1247655"/>
                </a:lnTo>
                <a:lnTo>
                  <a:pt x="474500" y="1289523"/>
                </a:lnTo>
                <a:lnTo>
                  <a:pt x="477291" y="1323017"/>
                </a:lnTo>
                <a:lnTo>
                  <a:pt x="466126" y="1364884"/>
                </a:lnTo>
                <a:lnTo>
                  <a:pt x="435423" y="1392796"/>
                </a:lnTo>
                <a:lnTo>
                  <a:pt x="410303" y="1417917"/>
                </a:lnTo>
                <a:lnTo>
                  <a:pt x="413094" y="1456993"/>
                </a:lnTo>
                <a:lnTo>
                  <a:pt x="396347" y="1501652"/>
                </a:lnTo>
                <a:lnTo>
                  <a:pt x="371226" y="1476531"/>
                </a:lnTo>
                <a:lnTo>
                  <a:pt x="354479" y="1465367"/>
                </a:lnTo>
                <a:lnTo>
                  <a:pt x="326567" y="1451411"/>
                </a:lnTo>
                <a:lnTo>
                  <a:pt x="293073" y="1479322"/>
                </a:lnTo>
                <a:lnTo>
                  <a:pt x="206547" y="1532355"/>
                </a:lnTo>
                <a:lnTo>
                  <a:pt x="164679" y="1563058"/>
                </a:lnTo>
                <a:lnTo>
                  <a:pt x="122812" y="1571431"/>
                </a:lnTo>
                <a:lnTo>
                  <a:pt x="55823" y="1540728"/>
                </a:lnTo>
                <a:lnTo>
                  <a:pt x="19538" y="1498861"/>
                </a:lnTo>
                <a:lnTo>
                  <a:pt x="0" y="1454202"/>
                </a:lnTo>
                <a:lnTo>
                  <a:pt x="13956" y="1434664"/>
                </a:lnTo>
                <a:lnTo>
                  <a:pt x="33494" y="1420708"/>
                </a:lnTo>
                <a:lnTo>
                  <a:pt x="61406" y="1390005"/>
                </a:lnTo>
                <a:lnTo>
                  <a:pt x="39076" y="1387214"/>
                </a:lnTo>
                <a:lnTo>
                  <a:pt x="16747" y="1390005"/>
                </a:lnTo>
                <a:lnTo>
                  <a:pt x="5582" y="1376049"/>
                </a:lnTo>
                <a:lnTo>
                  <a:pt x="11165" y="1348137"/>
                </a:lnTo>
                <a:lnTo>
                  <a:pt x="27912" y="1336973"/>
                </a:lnTo>
                <a:lnTo>
                  <a:pt x="50241" y="1314643"/>
                </a:lnTo>
                <a:lnTo>
                  <a:pt x="50241" y="1303478"/>
                </a:lnTo>
                <a:lnTo>
                  <a:pt x="44659" y="1283940"/>
                </a:lnTo>
                <a:lnTo>
                  <a:pt x="30703" y="1283940"/>
                </a:lnTo>
                <a:lnTo>
                  <a:pt x="25121" y="1253237"/>
                </a:lnTo>
                <a:lnTo>
                  <a:pt x="39076" y="1236490"/>
                </a:lnTo>
                <a:lnTo>
                  <a:pt x="39076" y="1197414"/>
                </a:lnTo>
                <a:lnTo>
                  <a:pt x="36285" y="1169502"/>
                </a:lnTo>
                <a:lnTo>
                  <a:pt x="39076" y="1152755"/>
                </a:lnTo>
                <a:lnTo>
                  <a:pt x="53032" y="1136008"/>
                </a:lnTo>
                <a:lnTo>
                  <a:pt x="55823" y="1116470"/>
                </a:lnTo>
                <a:lnTo>
                  <a:pt x="50241" y="1091349"/>
                </a:lnTo>
                <a:lnTo>
                  <a:pt x="69779" y="1074602"/>
                </a:lnTo>
                <a:lnTo>
                  <a:pt x="72571" y="1032735"/>
                </a:lnTo>
                <a:lnTo>
                  <a:pt x="106065" y="1035526"/>
                </a:lnTo>
                <a:lnTo>
                  <a:pt x="128394" y="1029943"/>
                </a:lnTo>
                <a:lnTo>
                  <a:pt x="147932" y="996449"/>
                </a:lnTo>
                <a:lnTo>
                  <a:pt x="156306" y="996449"/>
                </a:lnTo>
                <a:lnTo>
                  <a:pt x="187009" y="999240"/>
                </a:lnTo>
                <a:lnTo>
                  <a:pt x="192591" y="988076"/>
                </a:lnTo>
                <a:lnTo>
                  <a:pt x="195382" y="962955"/>
                </a:lnTo>
                <a:lnTo>
                  <a:pt x="217712" y="957373"/>
                </a:lnTo>
                <a:lnTo>
                  <a:pt x="251206" y="968538"/>
                </a:lnTo>
                <a:lnTo>
                  <a:pt x="262370" y="951791"/>
                </a:lnTo>
                <a:lnTo>
                  <a:pt x="295865" y="926670"/>
                </a:lnTo>
                <a:lnTo>
                  <a:pt x="334941" y="923879"/>
                </a:lnTo>
                <a:lnTo>
                  <a:pt x="337732" y="912714"/>
                </a:lnTo>
                <a:lnTo>
                  <a:pt x="360062" y="904341"/>
                </a:lnTo>
                <a:lnTo>
                  <a:pt x="360062" y="882011"/>
                </a:lnTo>
                <a:lnTo>
                  <a:pt x="385182" y="851308"/>
                </a:lnTo>
                <a:lnTo>
                  <a:pt x="404720" y="834561"/>
                </a:lnTo>
                <a:lnTo>
                  <a:pt x="421467" y="812232"/>
                </a:lnTo>
                <a:lnTo>
                  <a:pt x="441006" y="820605"/>
                </a:lnTo>
                <a:lnTo>
                  <a:pt x="441006" y="801067"/>
                </a:lnTo>
                <a:lnTo>
                  <a:pt x="454962" y="801067"/>
                </a:lnTo>
                <a:lnTo>
                  <a:pt x="466126" y="817814"/>
                </a:lnTo>
                <a:lnTo>
                  <a:pt x="480082" y="803858"/>
                </a:lnTo>
                <a:lnTo>
                  <a:pt x="474500" y="787111"/>
                </a:lnTo>
                <a:lnTo>
                  <a:pt x="466126" y="775947"/>
                </a:lnTo>
                <a:lnTo>
                  <a:pt x="482873" y="756408"/>
                </a:lnTo>
                <a:lnTo>
                  <a:pt x="510785" y="742452"/>
                </a:lnTo>
                <a:lnTo>
                  <a:pt x="527532" y="745244"/>
                </a:lnTo>
                <a:lnTo>
                  <a:pt x="541488" y="714541"/>
                </a:lnTo>
                <a:lnTo>
                  <a:pt x="538697" y="681047"/>
                </a:lnTo>
                <a:lnTo>
                  <a:pt x="544279" y="661508"/>
                </a:lnTo>
                <a:lnTo>
                  <a:pt x="561026" y="628014"/>
                </a:lnTo>
                <a:lnTo>
                  <a:pt x="569400" y="619641"/>
                </a:lnTo>
                <a:lnTo>
                  <a:pt x="580564" y="591729"/>
                </a:lnTo>
                <a:lnTo>
                  <a:pt x="588938" y="566608"/>
                </a:lnTo>
                <a:lnTo>
                  <a:pt x="622432" y="521950"/>
                </a:lnTo>
                <a:lnTo>
                  <a:pt x="644761" y="519159"/>
                </a:lnTo>
                <a:lnTo>
                  <a:pt x="664300" y="496829"/>
                </a:lnTo>
                <a:lnTo>
                  <a:pt x="683838" y="494038"/>
                </a:lnTo>
                <a:lnTo>
                  <a:pt x="683838" y="488456"/>
                </a:lnTo>
                <a:lnTo>
                  <a:pt x="681047" y="454962"/>
                </a:lnTo>
                <a:lnTo>
                  <a:pt x="700585" y="427050"/>
                </a:lnTo>
                <a:lnTo>
                  <a:pt x="686629" y="421467"/>
                </a:lnTo>
                <a:lnTo>
                  <a:pt x="695003" y="410303"/>
                </a:lnTo>
                <a:lnTo>
                  <a:pt x="708958" y="407512"/>
                </a:lnTo>
                <a:lnTo>
                  <a:pt x="734079" y="407512"/>
                </a:lnTo>
                <a:lnTo>
                  <a:pt x="742453" y="396347"/>
                </a:lnTo>
                <a:lnTo>
                  <a:pt x="753617" y="401929"/>
                </a:lnTo>
                <a:lnTo>
                  <a:pt x="778738" y="390765"/>
                </a:lnTo>
                <a:lnTo>
                  <a:pt x="767573" y="374017"/>
                </a:lnTo>
                <a:lnTo>
                  <a:pt x="770364" y="346106"/>
                </a:lnTo>
                <a:lnTo>
                  <a:pt x="775947" y="323776"/>
                </a:lnTo>
                <a:lnTo>
                  <a:pt x="787111" y="315403"/>
                </a:lnTo>
                <a:lnTo>
                  <a:pt x="803858" y="301447"/>
                </a:lnTo>
                <a:lnTo>
                  <a:pt x="817813" y="287491"/>
                </a:lnTo>
                <a:lnTo>
                  <a:pt x="828978" y="265162"/>
                </a:lnTo>
                <a:lnTo>
                  <a:pt x="852703" y="220503"/>
                </a:lnTo>
                <a:lnTo>
                  <a:pt x="863868" y="214921"/>
                </a:lnTo>
                <a:lnTo>
                  <a:pt x="869451" y="209338"/>
                </a:lnTo>
                <a:lnTo>
                  <a:pt x="883406" y="198174"/>
                </a:lnTo>
                <a:lnTo>
                  <a:pt x="942021" y="159097"/>
                </a:lnTo>
                <a:lnTo>
                  <a:pt x="947603" y="167471"/>
                </a:lnTo>
                <a:lnTo>
                  <a:pt x="955977" y="184218"/>
                </a:lnTo>
                <a:lnTo>
                  <a:pt x="969933" y="173053"/>
                </a:lnTo>
                <a:lnTo>
                  <a:pt x="983889" y="156306"/>
                </a:lnTo>
                <a:lnTo>
                  <a:pt x="983889" y="128394"/>
                </a:lnTo>
                <a:lnTo>
                  <a:pt x="1020174" y="117229"/>
                </a:lnTo>
                <a:lnTo>
                  <a:pt x="1039712" y="122812"/>
                </a:lnTo>
                <a:lnTo>
                  <a:pt x="1056459" y="128394"/>
                </a:lnTo>
                <a:lnTo>
                  <a:pt x="1081580" y="114438"/>
                </a:lnTo>
                <a:lnTo>
                  <a:pt x="1095536" y="75362"/>
                </a:lnTo>
                <a:lnTo>
                  <a:pt x="1106701" y="47450"/>
                </a:lnTo>
                <a:lnTo>
                  <a:pt x="1120656" y="50241"/>
                </a:lnTo>
                <a:lnTo>
                  <a:pt x="1126239" y="27912"/>
                </a:lnTo>
                <a:lnTo>
                  <a:pt x="1145777" y="27912"/>
                </a:lnTo>
                <a:lnTo>
                  <a:pt x="1162524" y="30703"/>
                </a:lnTo>
                <a:lnTo>
                  <a:pt x="1176480" y="36285"/>
                </a:lnTo>
                <a:lnTo>
                  <a:pt x="1162524" y="61406"/>
                </a:lnTo>
                <a:lnTo>
                  <a:pt x="1148568" y="83735"/>
                </a:lnTo>
                <a:lnTo>
                  <a:pt x="1142986" y="128394"/>
                </a:lnTo>
                <a:lnTo>
                  <a:pt x="1151359" y="139559"/>
                </a:lnTo>
                <a:lnTo>
                  <a:pt x="1162524" y="117229"/>
                </a:lnTo>
                <a:lnTo>
                  <a:pt x="1170897" y="86527"/>
                </a:lnTo>
                <a:lnTo>
                  <a:pt x="1193227" y="33494"/>
                </a:lnTo>
                <a:lnTo>
                  <a:pt x="1207183" y="41868"/>
                </a:lnTo>
                <a:lnTo>
                  <a:pt x="1207183" y="72571"/>
                </a:lnTo>
                <a:lnTo>
                  <a:pt x="1207183" y="94900"/>
                </a:lnTo>
                <a:lnTo>
                  <a:pt x="1221139" y="83735"/>
                </a:lnTo>
                <a:lnTo>
                  <a:pt x="1226721" y="47450"/>
                </a:lnTo>
                <a:lnTo>
                  <a:pt x="1223930" y="25121"/>
                </a:lnTo>
                <a:lnTo>
                  <a:pt x="1237886" y="8374"/>
                </a:lnTo>
                <a:close/>
              </a:path>
            </a:pathLst>
          </a:custGeom>
          <a:solidFill>
            <a:schemeClr val="accent1"/>
          </a:solidFill>
          <a:ln w="3175">
            <a:solidFill>
              <a:srgbClr val="1A1A3E"/>
            </a:solidFill>
            <a:prstDash val="solid"/>
            <a:round/>
            <a:headEnd/>
            <a:tailEnd/>
          </a:ln>
        </p:spPr>
        <p:txBody>
          <a:bodyPr wrap="square">
            <a:noAutofit/>
          </a:bodyPr>
          <a:lstStyle/>
          <a:p>
            <a:pPr defTabSz="913943">
              <a:defRPr/>
            </a:pPr>
            <a:endParaRPr lang="en-US" sz="1798">
              <a:solidFill>
                <a:srgbClr val="000000"/>
              </a:solidFill>
              <a:latin typeface="Arial"/>
            </a:endParaRPr>
          </a:p>
        </p:txBody>
      </p:sp>
      <p:sp>
        <p:nvSpPr>
          <p:cNvPr id="45" name="Freeform 207">
            <a:extLst>
              <a:ext uri="{FF2B5EF4-FFF2-40B4-BE49-F238E27FC236}">
                <a16:creationId xmlns:a16="http://schemas.microsoft.com/office/drawing/2014/main" id="{358F2EB5-3979-EEC8-713A-707CC0D14E99}"/>
              </a:ext>
            </a:extLst>
          </p:cNvPr>
          <p:cNvSpPr>
            <a:spLocks/>
          </p:cNvSpPr>
          <p:nvPr/>
        </p:nvSpPr>
        <p:spPr bwMode="auto">
          <a:xfrm>
            <a:off x="8127587" y="2894517"/>
            <a:ext cx="370846" cy="365659"/>
          </a:xfrm>
          <a:custGeom>
            <a:avLst/>
            <a:gdLst/>
            <a:ahLst/>
            <a:cxnLst>
              <a:cxn ang="0">
                <a:pos x="282" y="126"/>
              </a:cxn>
              <a:cxn ang="0">
                <a:pos x="232" y="104"/>
              </a:cxn>
              <a:cxn ang="0">
                <a:pos x="212" y="88"/>
              </a:cxn>
              <a:cxn ang="0">
                <a:pos x="204" y="58"/>
              </a:cxn>
              <a:cxn ang="0">
                <a:pos x="230" y="54"/>
              </a:cxn>
              <a:cxn ang="0">
                <a:pos x="266" y="26"/>
              </a:cxn>
              <a:cxn ang="0">
                <a:pos x="266" y="28"/>
              </a:cxn>
              <a:cxn ang="0">
                <a:pos x="278" y="20"/>
              </a:cxn>
              <a:cxn ang="0">
                <a:pos x="286" y="14"/>
              </a:cxn>
              <a:cxn ang="0">
                <a:pos x="248" y="2"/>
              </a:cxn>
              <a:cxn ang="0">
                <a:pos x="236" y="0"/>
              </a:cxn>
              <a:cxn ang="0">
                <a:pos x="230" y="2"/>
              </a:cxn>
              <a:cxn ang="0">
                <a:pos x="226" y="2"/>
              </a:cxn>
              <a:cxn ang="0">
                <a:pos x="216" y="6"/>
              </a:cxn>
              <a:cxn ang="0">
                <a:pos x="208" y="8"/>
              </a:cxn>
              <a:cxn ang="0">
                <a:pos x="198" y="20"/>
              </a:cxn>
              <a:cxn ang="0">
                <a:pos x="194" y="24"/>
              </a:cxn>
              <a:cxn ang="0">
                <a:pos x="198" y="40"/>
              </a:cxn>
              <a:cxn ang="0">
                <a:pos x="208" y="46"/>
              </a:cxn>
              <a:cxn ang="0">
                <a:pos x="190" y="54"/>
              </a:cxn>
              <a:cxn ang="0">
                <a:pos x="176" y="56"/>
              </a:cxn>
              <a:cxn ang="0">
                <a:pos x="142" y="44"/>
              </a:cxn>
              <a:cxn ang="0">
                <a:pos x="116" y="32"/>
              </a:cxn>
              <a:cxn ang="0">
                <a:pos x="102" y="34"/>
              </a:cxn>
              <a:cxn ang="0">
                <a:pos x="96" y="44"/>
              </a:cxn>
              <a:cxn ang="0">
                <a:pos x="98" y="48"/>
              </a:cxn>
              <a:cxn ang="0">
                <a:pos x="92" y="80"/>
              </a:cxn>
              <a:cxn ang="0">
                <a:pos x="68" y="102"/>
              </a:cxn>
              <a:cxn ang="0">
                <a:pos x="88" y="126"/>
              </a:cxn>
              <a:cxn ang="0">
                <a:pos x="102" y="142"/>
              </a:cxn>
              <a:cxn ang="0">
                <a:pos x="84" y="162"/>
              </a:cxn>
              <a:cxn ang="0">
                <a:pos x="64" y="174"/>
              </a:cxn>
              <a:cxn ang="0">
                <a:pos x="46" y="192"/>
              </a:cxn>
              <a:cxn ang="0">
                <a:pos x="46" y="206"/>
              </a:cxn>
              <a:cxn ang="0">
                <a:pos x="26" y="196"/>
              </a:cxn>
              <a:cxn ang="0">
                <a:pos x="12" y="194"/>
              </a:cxn>
              <a:cxn ang="0">
                <a:pos x="0" y="226"/>
              </a:cxn>
              <a:cxn ang="0">
                <a:pos x="8" y="254"/>
              </a:cxn>
              <a:cxn ang="0">
                <a:pos x="16" y="262"/>
              </a:cxn>
              <a:cxn ang="0">
                <a:pos x="48" y="282"/>
              </a:cxn>
              <a:cxn ang="0">
                <a:pos x="100" y="280"/>
              </a:cxn>
              <a:cxn ang="0">
                <a:pos x="124" y="276"/>
              </a:cxn>
              <a:cxn ang="0">
                <a:pos x="150" y="266"/>
              </a:cxn>
              <a:cxn ang="0">
                <a:pos x="168" y="270"/>
              </a:cxn>
              <a:cxn ang="0">
                <a:pos x="184" y="270"/>
              </a:cxn>
              <a:cxn ang="0">
                <a:pos x="202" y="278"/>
              </a:cxn>
              <a:cxn ang="0">
                <a:pos x="214" y="280"/>
              </a:cxn>
              <a:cxn ang="0">
                <a:pos x="222" y="266"/>
              </a:cxn>
              <a:cxn ang="0">
                <a:pos x="244" y="238"/>
              </a:cxn>
              <a:cxn ang="0">
                <a:pos x="262" y="214"/>
              </a:cxn>
              <a:cxn ang="0">
                <a:pos x="268" y="182"/>
              </a:cxn>
              <a:cxn ang="0">
                <a:pos x="270" y="172"/>
              </a:cxn>
              <a:cxn ang="0">
                <a:pos x="270" y="166"/>
              </a:cxn>
              <a:cxn ang="0">
                <a:pos x="272" y="154"/>
              </a:cxn>
              <a:cxn ang="0">
                <a:pos x="270" y="140"/>
              </a:cxn>
              <a:cxn ang="0">
                <a:pos x="284" y="132"/>
              </a:cxn>
              <a:cxn ang="0">
                <a:pos x="282" y="126"/>
              </a:cxn>
              <a:cxn ang="0">
                <a:pos x="282" y="126"/>
              </a:cxn>
            </a:cxnLst>
            <a:rect l="0" t="0" r="r" b="b"/>
            <a:pathLst>
              <a:path w="286" h="282">
                <a:moveTo>
                  <a:pt x="282" y="126"/>
                </a:moveTo>
                <a:lnTo>
                  <a:pt x="232" y="104"/>
                </a:lnTo>
                <a:lnTo>
                  <a:pt x="212" y="88"/>
                </a:lnTo>
                <a:lnTo>
                  <a:pt x="204" y="58"/>
                </a:lnTo>
                <a:lnTo>
                  <a:pt x="230" y="54"/>
                </a:lnTo>
                <a:lnTo>
                  <a:pt x="266" y="26"/>
                </a:lnTo>
                <a:lnTo>
                  <a:pt x="266" y="28"/>
                </a:lnTo>
                <a:lnTo>
                  <a:pt x="278" y="20"/>
                </a:lnTo>
                <a:lnTo>
                  <a:pt x="286" y="14"/>
                </a:lnTo>
                <a:lnTo>
                  <a:pt x="248" y="2"/>
                </a:lnTo>
                <a:lnTo>
                  <a:pt x="236" y="0"/>
                </a:lnTo>
                <a:lnTo>
                  <a:pt x="230" y="2"/>
                </a:lnTo>
                <a:lnTo>
                  <a:pt x="226" y="2"/>
                </a:lnTo>
                <a:lnTo>
                  <a:pt x="216" y="6"/>
                </a:lnTo>
                <a:lnTo>
                  <a:pt x="208" y="8"/>
                </a:lnTo>
                <a:lnTo>
                  <a:pt x="198" y="20"/>
                </a:lnTo>
                <a:lnTo>
                  <a:pt x="194" y="24"/>
                </a:lnTo>
                <a:lnTo>
                  <a:pt x="198" y="40"/>
                </a:lnTo>
                <a:lnTo>
                  <a:pt x="208" y="46"/>
                </a:lnTo>
                <a:lnTo>
                  <a:pt x="190" y="54"/>
                </a:lnTo>
                <a:lnTo>
                  <a:pt x="176" y="56"/>
                </a:lnTo>
                <a:lnTo>
                  <a:pt x="142" y="44"/>
                </a:lnTo>
                <a:lnTo>
                  <a:pt x="116" y="32"/>
                </a:lnTo>
                <a:lnTo>
                  <a:pt x="102" y="34"/>
                </a:lnTo>
                <a:lnTo>
                  <a:pt x="96" y="44"/>
                </a:lnTo>
                <a:lnTo>
                  <a:pt x="98" y="48"/>
                </a:lnTo>
                <a:lnTo>
                  <a:pt x="92" y="80"/>
                </a:lnTo>
                <a:lnTo>
                  <a:pt x="68" y="102"/>
                </a:lnTo>
                <a:lnTo>
                  <a:pt x="88" y="126"/>
                </a:lnTo>
                <a:lnTo>
                  <a:pt x="102" y="142"/>
                </a:lnTo>
                <a:lnTo>
                  <a:pt x="84" y="162"/>
                </a:lnTo>
                <a:lnTo>
                  <a:pt x="64" y="174"/>
                </a:lnTo>
                <a:lnTo>
                  <a:pt x="46" y="192"/>
                </a:lnTo>
                <a:lnTo>
                  <a:pt x="46" y="206"/>
                </a:lnTo>
                <a:lnTo>
                  <a:pt x="26" y="196"/>
                </a:lnTo>
                <a:lnTo>
                  <a:pt x="12" y="194"/>
                </a:lnTo>
                <a:lnTo>
                  <a:pt x="0" y="226"/>
                </a:lnTo>
                <a:lnTo>
                  <a:pt x="8" y="254"/>
                </a:lnTo>
                <a:lnTo>
                  <a:pt x="16" y="262"/>
                </a:lnTo>
                <a:lnTo>
                  <a:pt x="48" y="282"/>
                </a:lnTo>
                <a:lnTo>
                  <a:pt x="100" y="280"/>
                </a:lnTo>
                <a:lnTo>
                  <a:pt x="124" y="276"/>
                </a:lnTo>
                <a:lnTo>
                  <a:pt x="150" y="266"/>
                </a:lnTo>
                <a:lnTo>
                  <a:pt x="168" y="270"/>
                </a:lnTo>
                <a:lnTo>
                  <a:pt x="184" y="270"/>
                </a:lnTo>
                <a:lnTo>
                  <a:pt x="202" y="278"/>
                </a:lnTo>
                <a:lnTo>
                  <a:pt x="214" y="280"/>
                </a:lnTo>
                <a:lnTo>
                  <a:pt x="222" y="266"/>
                </a:lnTo>
                <a:lnTo>
                  <a:pt x="244" y="238"/>
                </a:lnTo>
                <a:lnTo>
                  <a:pt x="262" y="214"/>
                </a:lnTo>
                <a:lnTo>
                  <a:pt x="268" y="182"/>
                </a:lnTo>
                <a:lnTo>
                  <a:pt x="270" y="172"/>
                </a:lnTo>
                <a:lnTo>
                  <a:pt x="270" y="166"/>
                </a:lnTo>
                <a:lnTo>
                  <a:pt x="272" y="154"/>
                </a:lnTo>
                <a:lnTo>
                  <a:pt x="270" y="140"/>
                </a:lnTo>
                <a:lnTo>
                  <a:pt x="284" y="132"/>
                </a:lnTo>
                <a:lnTo>
                  <a:pt x="282" y="126"/>
                </a:lnTo>
                <a:lnTo>
                  <a:pt x="282" y="12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46" name="Freeform 240">
            <a:extLst>
              <a:ext uri="{FF2B5EF4-FFF2-40B4-BE49-F238E27FC236}">
                <a16:creationId xmlns:a16="http://schemas.microsoft.com/office/drawing/2014/main" id="{DFB0899E-F260-E7CF-C97C-47681870A166}"/>
              </a:ext>
            </a:extLst>
          </p:cNvPr>
          <p:cNvSpPr>
            <a:spLocks/>
          </p:cNvSpPr>
          <p:nvPr/>
        </p:nvSpPr>
        <p:spPr bwMode="auto">
          <a:xfrm>
            <a:off x="8371358" y="2152827"/>
            <a:ext cx="705384" cy="1421139"/>
          </a:xfrm>
          <a:custGeom>
            <a:avLst/>
            <a:gdLst/>
            <a:ahLst/>
            <a:cxnLst/>
            <a:rect l="l" t="t" r="r" b="b"/>
            <a:pathLst>
              <a:path w="863600" h="1739900">
                <a:moveTo>
                  <a:pt x="260351" y="1250950"/>
                </a:moveTo>
                <a:lnTo>
                  <a:pt x="282576" y="1276350"/>
                </a:lnTo>
                <a:lnTo>
                  <a:pt x="257176" y="1292225"/>
                </a:lnTo>
                <a:lnTo>
                  <a:pt x="241301" y="1270000"/>
                </a:lnTo>
                <a:close/>
                <a:moveTo>
                  <a:pt x="314326" y="1123950"/>
                </a:moveTo>
                <a:lnTo>
                  <a:pt x="307976" y="1143000"/>
                </a:lnTo>
                <a:lnTo>
                  <a:pt x="292101" y="1155700"/>
                </a:lnTo>
                <a:lnTo>
                  <a:pt x="263526" y="1158875"/>
                </a:lnTo>
                <a:lnTo>
                  <a:pt x="285751" y="1133475"/>
                </a:lnTo>
                <a:close/>
                <a:moveTo>
                  <a:pt x="123825" y="949325"/>
                </a:moveTo>
                <a:lnTo>
                  <a:pt x="123825" y="952500"/>
                </a:lnTo>
                <a:lnTo>
                  <a:pt x="142875" y="955675"/>
                </a:lnTo>
                <a:lnTo>
                  <a:pt x="165100" y="949325"/>
                </a:lnTo>
                <a:lnTo>
                  <a:pt x="200025" y="952500"/>
                </a:lnTo>
                <a:lnTo>
                  <a:pt x="222250" y="968375"/>
                </a:lnTo>
                <a:lnTo>
                  <a:pt x="228600" y="1028700"/>
                </a:lnTo>
                <a:lnTo>
                  <a:pt x="231775" y="1079500"/>
                </a:lnTo>
                <a:lnTo>
                  <a:pt x="209550" y="1104900"/>
                </a:lnTo>
                <a:lnTo>
                  <a:pt x="171450" y="1120775"/>
                </a:lnTo>
                <a:lnTo>
                  <a:pt x="149225" y="1108075"/>
                </a:lnTo>
                <a:lnTo>
                  <a:pt x="69850" y="1073150"/>
                </a:lnTo>
                <a:lnTo>
                  <a:pt x="38100" y="1047750"/>
                </a:lnTo>
                <a:lnTo>
                  <a:pt x="25400" y="1000125"/>
                </a:lnTo>
                <a:lnTo>
                  <a:pt x="66675" y="993775"/>
                </a:lnTo>
                <a:close/>
                <a:moveTo>
                  <a:pt x="231775" y="869950"/>
                </a:moveTo>
                <a:lnTo>
                  <a:pt x="254000" y="869950"/>
                </a:lnTo>
                <a:lnTo>
                  <a:pt x="238125" y="908050"/>
                </a:lnTo>
                <a:lnTo>
                  <a:pt x="212725" y="892175"/>
                </a:lnTo>
                <a:close/>
                <a:moveTo>
                  <a:pt x="282575" y="777875"/>
                </a:moveTo>
                <a:lnTo>
                  <a:pt x="311150" y="819150"/>
                </a:lnTo>
                <a:lnTo>
                  <a:pt x="285750" y="828675"/>
                </a:lnTo>
                <a:lnTo>
                  <a:pt x="292100" y="825500"/>
                </a:lnTo>
                <a:lnTo>
                  <a:pt x="282575" y="819150"/>
                </a:lnTo>
                <a:lnTo>
                  <a:pt x="266700" y="790575"/>
                </a:lnTo>
                <a:close/>
                <a:moveTo>
                  <a:pt x="327025" y="628650"/>
                </a:moveTo>
                <a:lnTo>
                  <a:pt x="342900" y="647700"/>
                </a:lnTo>
                <a:lnTo>
                  <a:pt x="336550" y="692150"/>
                </a:lnTo>
                <a:lnTo>
                  <a:pt x="327025" y="704850"/>
                </a:lnTo>
                <a:lnTo>
                  <a:pt x="307975" y="698500"/>
                </a:lnTo>
                <a:lnTo>
                  <a:pt x="301625" y="673100"/>
                </a:lnTo>
                <a:lnTo>
                  <a:pt x="292100" y="657225"/>
                </a:lnTo>
                <a:close/>
                <a:moveTo>
                  <a:pt x="241300" y="606425"/>
                </a:moveTo>
                <a:lnTo>
                  <a:pt x="269875" y="612775"/>
                </a:lnTo>
                <a:lnTo>
                  <a:pt x="269875" y="622300"/>
                </a:lnTo>
                <a:lnTo>
                  <a:pt x="257175" y="619125"/>
                </a:lnTo>
                <a:lnTo>
                  <a:pt x="254000" y="622300"/>
                </a:lnTo>
                <a:close/>
                <a:moveTo>
                  <a:pt x="482600" y="546100"/>
                </a:moveTo>
                <a:lnTo>
                  <a:pt x="492125" y="558800"/>
                </a:lnTo>
                <a:lnTo>
                  <a:pt x="581025" y="584200"/>
                </a:lnTo>
                <a:lnTo>
                  <a:pt x="612775" y="590550"/>
                </a:lnTo>
                <a:lnTo>
                  <a:pt x="581025" y="631825"/>
                </a:lnTo>
                <a:lnTo>
                  <a:pt x="492125" y="663575"/>
                </a:lnTo>
                <a:lnTo>
                  <a:pt x="498475" y="685800"/>
                </a:lnTo>
                <a:lnTo>
                  <a:pt x="473075" y="688975"/>
                </a:lnTo>
                <a:lnTo>
                  <a:pt x="473075" y="701675"/>
                </a:lnTo>
                <a:lnTo>
                  <a:pt x="530225" y="708025"/>
                </a:lnTo>
                <a:lnTo>
                  <a:pt x="619125" y="739775"/>
                </a:lnTo>
                <a:lnTo>
                  <a:pt x="638175" y="739775"/>
                </a:lnTo>
                <a:lnTo>
                  <a:pt x="647700" y="781050"/>
                </a:lnTo>
                <a:lnTo>
                  <a:pt x="549275" y="892175"/>
                </a:lnTo>
                <a:lnTo>
                  <a:pt x="508000" y="920750"/>
                </a:lnTo>
                <a:lnTo>
                  <a:pt x="476250" y="933450"/>
                </a:lnTo>
                <a:lnTo>
                  <a:pt x="492125" y="952500"/>
                </a:lnTo>
                <a:lnTo>
                  <a:pt x="514350" y="942975"/>
                </a:lnTo>
                <a:lnTo>
                  <a:pt x="542925" y="971550"/>
                </a:lnTo>
                <a:lnTo>
                  <a:pt x="558800" y="1009650"/>
                </a:lnTo>
                <a:lnTo>
                  <a:pt x="574675" y="1050925"/>
                </a:lnTo>
                <a:lnTo>
                  <a:pt x="568325" y="1063625"/>
                </a:lnTo>
                <a:lnTo>
                  <a:pt x="565150" y="1092200"/>
                </a:lnTo>
                <a:lnTo>
                  <a:pt x="587375" y="1190625"/>
                </a:lnTo>
                <a:lnTo>
                  <a:pt x="625475" y="1266825"/>
                </a:lnTo>
                <a:lnTo>
                  <a:pt x="631825" y="1387475"/>
                </a:lnTo>
                <a:lnTo>
                  <a:pt x="622300" y="1425575"/>
                </a:lnTo>
                <a:lnTo>
                  <a:pt x="628650" y="1454150"/>
                </a:lnTo>
                <a:lnTo>
                  <a:pt x="679450" y="1457325"/>
                </a:lnTo>
                <a:lnTo>
                  <a:pt x="723900" y="1495425"/>
                </a:lnTo>
                <a:lnTo>
                  <a:pt x="714375" y="1552575"/>
                </a:lnTo>
                <a:lnTo>
                  <a:pt x="692150" y="1590675"/>
                </a:lnTo>
                <a:lnTo>
                  <a:pt x="663575" y="1600200"/>
                </a:lnTo>
                <a:lnTo>
                  <a:pt x="647700" y="1622425"/>
                </a:lnTo>
                <a:lnTo>
                  <a:pt x="615950" y="1644650"/>
                </a:lnTo>
                <a:lnTo>
                  <a:pt x="612775" y="1670050"/>
                </a:lnTo>
                <a:lnTo>
                  <a:pt x="641350" y="1676400"/>
                </a:lnTo>
                <a:lnTo>
                  <a:pt x="657225" y="1682750"/>
                </a:lnTo>
                <a:lnTo>
                  <a:pt x="644525" y="1711325"/>
                </a:lnTo>
                <a:lnTo>
                  <a:pt x="603250" y="1724025"/>
                </a:lnTo>
                <a:lnTo>
                  <a:pt x="533400" y="1739900"/>
                </a:lnTo>
                <a:lnTo>
                  <a:pt x="504825" y="1724025"/>
                </a:lnTo>
                <a:lnTo>
                  <a:pt x="466725" y="1714500"/>
                </a:lnTo>
                <a:lnTo>
                  <a:pt x="333375" y="1689100"/>
                </a:lnTo>
                <a:lnTo>
                  <a:pt x="330200" y="1701800"/>
                </a:lnTo>
                <a:lnTo>
                  <a:pt x="295275" y="1685925"/>
                </a:lnTo>
                <a:lnTo>
                  <a:pt x="225425" y="1657350"/>
                </a:lnTo>
                <a:lnTo>
                  <a:pt x="180975" y="1676400"/>
                </a:lnTo>
                <a:lnTo>
                  <a:pt x="155575" y="1689100"/>
                </a:lnTo>
                <a:lnTo>
                  <a:pt x="139700" y="1673225"/>
                </a:lnTo>
                <a:lnTo>
                  <a:pt x="57150" y="1663700"/>
                </a:lnTo>
                <a:lnTo>
                  <a:pt x="0" y="1673225"/>
                </a:lnTo>
                <a:lnTo>
                  <a:pt x="6350" y="1651000"/>
                </a:lnTo>
                <a:lnTo>
                  <a:pt x="25400" y="1651000"/>
                </a:lnTo>
                <a:lnTo>
                  <a:pt x="50800" y="1641475"/>
                </a:lnTo>
                <a:lnTo>
                  <a:pt x="117475" y="1606550"/>
                </a:lnTo>
                <a:lnTo>
                  <a:pt x="168275" y="1562100"/>
                </a:lnTo>
                <a:lnTo>
                  <a:pt x="209550" y="1565275"/>
                </a:lnTo>
                <a:lnTo>
                  <a:pt x="244475" y="1587500"/>
                </a:lnTo>
                <a:lnTo>
                  <a:pt x="269875" y="1590675"/>
                </a:lnTo>
                <a:lnTo>
                  <a:pt x="279400" y="1574800"/>
                </a:lnTo>
                <a:lnTo>
                  <a:pt x="330200" y="1543050"/>
                </a:lnTo>
                <a:lnTo>
                  <a:pt x="301625" y="1549400"/>
                </a:lnTo>
                <a:lnTo>
                  <a:pt x="288925" y="1546225"/>
                </a:lnTo>
                <a:lnTo>
                  <a:pt x="260350" y="1558925"/>
                </a:lnTo>
                <a:lnTo>
                  <a:pt x="234950" y="1549400"/>
                </a:lnTo>
                <a:lnTo>
                  <a:pt x="219075" y="1524000"/>
                </a:lnTo>
                <a:lnTo>
                  <a:pt x="200025" y="1501775"/>
                </a:lnTo>
                <a:lnTo>
                  <a:pt x="200025" y="1495425"/>
                </a:lnTo>
                <a:lnTo>
                  <a:pt x="174625" y="1476375"/>
                </a:lnTo>
                <a:lnTo>
                  <a:pt x="155575" y="1473200"/>
                </a:lnTo>
                <a:lnTo>
                  <a:pt x="130175" y="1463675"/>
                </a:lnTo>
                <a:lnTo>
                  <a:pt x="117475" y="1460500"/>
                </a:lnTo>
                <a:lnTo>
                  <a:pt x="114300" y="1431925"/>
                </a:lnTo>
                <a:lnTo>
                  <a:pt x="136525" y="1419225"/>
                </a:lnTo>
                <a:lnTo>
                  <a:pt x="165100" y="1425575"/>
                </a:lnTo>
                <a:lnTo>
                  <a:pt x="187325" y="1419225"/>
                </a:lnTo>
                <a:lnTo>
                  <a:pt x="225425" y="1412875"/>
                </a:lnTo>
                <a:lnTo>
                  <a:pt x="254000" y="1358900"/>
                </a:lnTo>
                <a:lnTo>
                  <a:pt x="238125" y="1323975"/>
                </a:lnTo>
                <a:lnTo>
                  <a:pt x="225425" y="1330325"/>
                </a:lnTo>
                <a:lnTo>
                  <a:pt x="203200" y="1330325"/>
                </a:lnTo>
                <a:lnTo>
                  <a:pt x="234950" y="1304925"/>
                </a:lnTo>
                <a:lnTo>
                  <a:pt x="276225" y="1285875"/>
                </a:lnTo>
                <a:lnTo>
                  <a:pt x="295275" y="1285875"/>
                </a:lnTo>
                <a:lnTo>
                  <a:pt x="304800" y="1282700"/>
                </a:lnTo>
                <a:lnTo>
                  <a:pt x="307975" y="1289050"/>
                </a:lnTo>
                <a:lnTo>
                  <a:pt x="333375" y="1295400"/>
                </a:lnTo>
                <a:lnTo>
                  <a:pt x="371475" y="1295400"/>
                </a:lnTo>
                <a:lnTo>
                  <a:pt x="387350" y="1235075"/>
                </a:lnTo>
                <a:lnTo>
                  <a:pt x="387350" y="1196975"/>
                </a:lnTo>
                <a:lnTo>
                  <a:pt x="381000" y="1177925"/>
                </a:lnTo>
                <a:lnTo>
                  <a:pt x="377825" y="1162050"/>
                </a:lnTo>
                <a:lnTo>
                  <a:pt x="381000" y="1120775"/>
                </a:lnTo>
                <a:lnTo>
                  <a:pt x="409575" y="1089025"/>
                </a:lnTo>
                <a:lnTo>
                  <a:pt x="330200" y="1079500"/>
                </a:lnTo>
                <a:lnTo>
                  <a:pt x="273050" y="1038225"/>
                </a:lnTo>
                <a:lnTo>
                  <a:pt x="336550" y="977900"/>
                </a:lnTo>
                <a:lnTo>
                  <a:pt x="342900" y="952500"/>
                </a:lnTo>
                <a:lnTo>
                  <a:pt x="333375" y="936625"/>
                </a:lnTo>
                <a:lnTo>
                  <a:pt x="342900" y="914400"/>
                </a:lnTo>
                <a:lnTo>
                  <a:pt x="355600" y="873125"/>
                </a:lnTo>
                <a:lnTo>
                  <a:pt x="339725" y="908050"/>
                </a:lnTo>
                <a:lnTo>
                  <a:pt x="314325" y="901700"/>
                </a:lnTo>
                <a:lnTo>
                  <a:pt x="320675" y="879475"/>
                </a:lnTo>
                <a:lnTo>
                  <a:pt x="314325" y="885825"/>
                </a:lnTo>
                <a:lnTo>
                  <a:pt x="301625" y="904875"/>
                </a:lnTo>
                <a:lnTo>
                  <a:pt x="285750" y="933450"/>
                </a:lnTo>
                <a:lnTo>
                  <a:pt x="247650" y="965200"/>
                </a:lnTo>
                <a:lnTo>
                  <a:pt x="266700" y="927100"/>
                </a:lnTo>
                <a:lnTo>
                  <a:pt x="304800" y="854075"/>
                </a:lnTo>
                <a:lnTo>
                  <a:pt x="323850" y="806450"/>
                </a:lnTo>
                <a:lnTo>
                  <a:pt x="304800" y="793750"/>
                </a:lnTo>
                <a:lnTo>
                  <a:pt x="288925" y="765175"/>
                </a:lnTo>
                <a:lnTo>
                  <a:pt x="295275" y="758825"/>
                </a:lnTo>
                <a:lnTo>
                  <a:pt x="323850" y="755650"/>
                </a:lnTo>
                <a:lnTo>
                  <a:pt x="336550" y="755650"/>
                </a:lnTo>
                <a:lnTo>
                  <a:pt x="323850" y="749300"/>
                </a:lnTo>
                <a:lnTo>
                  <a:pt x="333375" y="733425"/>
                </a:lnTo>
                <a:lnTo>
                  <a:pt x="355600" y="742950"/>
                </a:lnTo>
                <a:lnTo>
                  <a:pt x="339725" y="730250"/>
                </a:lnTo>
                <a:lnTo>
                  <a:pt x="355600" y="695325"/>
                </a:lnTo>
                <a:lnTo>
                  <a:pt x="358775" y="663575"/>
                </a:lnTo>
                <a:lnTo>
                  <a:pt x="381000" y="644525"/>
                </a:lnTo>
                <a:lnTo>
                  <a:pt x="422275" y="606425"/>
                </a:lnTo>
                <a:lnTo>
                  <a:pt x="431800" y="596900"/>
                </a:lnTo>
                <a:lnTo>
                  <a:pt x="428625" y="581025"/>
                </a:lnTo>
                <a:lnTo>
                  <a:pt x="460375" y="552450"/>
                </a:lnTo>
                <a:close/>
                <a:moveTo>
                  <a:pt x="606425" y="530225"/>
                </a:moveTo>
                <a:lnTo>
                  <a:pt x="650875" y="555625"/>
                </a:lnTo>
                <a:lnTo>
                  <a:pt x="622300" y="552450"/>
                </a:lnTo>
                <a:close/>
                <a:moveTo>
                  <a:pt x="377825" y="527050"/>
                </a:moveTo>
                <a:lnTo>
                  <a:pt x="384175" y="539750"/>
                </a:lnTo>
                <a:lnTo>
                  <a:pt x="342900" y="571500"/>
                </a:lnTo>
                <a:lnTo>
                  <a:pt x="323850" y="577850"/>
                </a:lnTo>
                <a:lnTo>
                  <a:pt x="304800" y="600075"/>
                </a:lnTo>
                <a:lnTo>
                  <a:pt x="282575" y="587375"/>
                </a:lnTo>
                <a:lnTo>
                  <a:pt x="288925" y="590550"/>
                </a:lnTo>
                <a:lnTo>
                  <a:pt x="298450" y="584200"/>
                </a:lnTo>
                <a:lnTo>
                  <a:pt x="311150" y="587375"/>
                </a:lnTo>
                <a:lnTo>
                  <a:pt x="295275" y="571500"/>
                </a:lnTo>
                <a:lnTo>
                  <a:pt x="314325" y="536575"/>
                </a:lnTo>
                <a:lnTo>
                  <a:pt x="358775" y="530225"/>
                </a:lnTo>
                <a:close/>
                <a:moveTo>
                  <a:pt x="822325" y="358775"/>
                </a:moveTo>
                <a:lnTo>
                  <a:pt x="815975" y="381000"/>
                </a:lnTo>
                <a:lnTo>
                  <a:pt x="806450" y="390525"/>
                </a:lnTo>
                <a:lnTo>
                  <a:pt x="822325" y="384175"/>
                </a:lnTo>
                <a:lnTo>
                  <a:pt x="822325" y="403225"/>
                </a:lnTo>
                <a:lnTo>
                  <a:pt x="809625" y="431800"/>
                </a:lnTo>
                <a:lnTo>
                  <a:pt x="790575" y="466725"/>
                </a:lnTo>
                <a:lnTo>
                  <a:pt x="784225" y="457200"/>
                </a:lnTo>
                <a:lnTo>
                  <a:pt x="796925" y="409575"/>
                </a:lnTo>
                <a:lnTo>
                  <a:pt x="790575" y="422275"/>
                </a:lnTo>
                <a:lnTo>
                  <a:pt x="777875" y="403225"/>
                </a:lnTo>
                <a:lnTo>
                  <a:pt x="796925" y="400050"/>
                </a:lnTo>
                <a:lnTo>
                  <a:pt x="803275" y="377825"/>
                </a:lnTo>
                <a:lnTo>
                  <a:pt x="793750" y="374650"/>
                </a:lnTo>
                <a:close/>
                <a:moveTo>
                  <a:pt x="863600" y="342900"/>
                </a:moveTo>
                <a:lnTo>
                  <a:pt x="854075" y="361950"/>
                </a:lnTo>
                <a:lnTo>
                  <a:pt x="844550" y="358775"/>
                </a:lnTo>
                <a:close/>
                <a:moveTo>
                  <a:pt x="533400" y="0"/>
                </a:moveTo>
                <a:lnTo>
                  <a:pt x="539750" y="60325"/>
                </a:lnTo>
                <a:lnTo>
                  <a:pt x="523875" y="19050"/>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47" name="Freeform 198">
            <a:extLst>
              <a:ext uri="{FF2B5EF4-FFF2-40B4-BE49-F238E27FC236}">
                <a16:creationId xmlns:a16="http://schemas.microsoft.com/office/drawing/2014/main" id="{1DC2D0EB-0595-7800-B236-2CDB14CDB080}"/>
              </a:ext>
            </a:extLst>
          </p:cNvPr>
          <p:cNvSpPr>
            <a:spLocks/>
          </p:cNvSpPr>
          <p:nvPr/>
        </p:nvSpPr>
        <p:spPr bwMode="auto">
          <a:xfrm>
            <a:off x="10291716" y="2923043"/>
            <a:ext cx="461611" cy="264518"/>
          </a:xfrm>
          <a:custGeom>
            <a:avLst/>
            <a:gdLst/>
            <a:ahLst/>
            <a:cxnLst>
              <a:cxn ang="0">
                <a:pos x="354" y="152"/>
              </a:cxn>
              <a:cxn ang="0">
                <a:pos x="356" y="134"/>
              </a:cxn>
              <a:cxn ang="0">
                <a:pos x="348" y="116"/>
              </a:cxn>
              <a:cxn ang="0">
                <a:pos x="332" y="72"/>
              </a:cxn>
              <a:cxn ang="0">
                <a:pos x="330" y="56"/>
              </a:cxn>
              <a:cxn ang="0">
                <a:pos x="326" y="50"/>
              </a:cxn>
              <a:cxn ang="0">
                <a:pos x="302" y="34"/>
              </a:cxn>
              <a:cxn ang="0">
                <a:pos x="274" y="30"/>
              </a:cxn>
              <a:cxn ang="0">
                <a:pos x="242" y="22"/>
              </a:cxn>
              <a:cxn ang="0">
                <a:pos x="210" y="0"/>
              </a:cxn>
              <a:cxn ang="0">
                <a:pos x="188" y="2"/>
              </a:cxn>
              <a:cxn ang="0">
                <a:pos x="158" y="16"/>
              </a:cxn>
              <a:cxn ang="0">
                <a:pos x="156" y="28"/>
              </a:cxn>
              <a:cxn ang="0">
                <a:pos x="164" y="68"/>
              </a:cxn>
              <a:cxn ang="0">
                <a:pos x="148" y="88"/>
              </a:cxn>
              <a:cxn ang="0">
                <a:pos x="110" y="88"/>
              </a:cxn>
              <a:cxn ang="0">
                <a:pos x="104" y="74"/>
              </a:cxn>
              <a:cxn ang="0">
                <a:pos x="88" y="52"/>
              </a:cxn>
              <a:cxn ang="0">
                <a:pos x="66" y="36"/>
              </a:cxn>
              <a:cxn ang="0">
                <a:pos x="36" y="48"/>
              </a:cxn>
              <a:cxn ang="0">
                <a:pos x="20" y="74"/>
              </a:cxn>
              <a:cxn ang="0">
                <a:pos x="4" y="120"/>
              </a:cxn>
              <a:cxn ang="0">
                <a:pos x="0" y="164"/>
              </a:cxn>
              <a:cxn ang="0">
                <a:pos x="6" y="184"/>
              </a:cxn>
              <a:cxn ang="0">
                <a:pos x="10" y="182"/>
              </a:cxn>
              <a:cxn ang="0">
                <a:pos x="12" y="182"/>
              </a:cxn>
              <a:cxn ang="0">
                <a:pos x="14" y="174"/>
              </a:cxn>
              <a:cxn ang="0">
                <a:pos x="22" y="168"/>
              </a:cxn>
              <a:cxn ang="0">
                <a:pos x="26" y="164"/>
              </a:cxn>
              <a:cxn ang="0">
                <a:pos x="30" y="160"/>
              </a:cxn>
              <a:cxn ang="0">
                <a:pos x="38" y="162"/>
              </a:cxn>
              <a:cxn ang="0">
                <a:pos x="40" y="158"/>
              </a:cxn>
              <a:cxn ang="0">
                <a:pos x="48" y="154"/>
              </a:cxn>
              <a:cxn ang="0">
                <a:pos x="50" y="152"/>
              </a:cxn>
              <a:cxn ang="0">
                <a:pos x="50" y="152"/>
              </a:cxn>
              <a:cxn ang="0">
                <a:pos x="68" y="152"/>
              </a:cxn>
              <a:cxn ang="0">
                <a:pos x="86" y="154"/>
              </a:cxn>
              <a:cxn ang="0">
                <a:pos x="150" y="154"/>
              </a:cxn>
              <a:cxn ang="0">
                <a:pos x="178" y="150"/>
              </a:cxn>
              <a:cxn ang="0">
                <a:pos x="198" y="154"/>
              </a:cxn>
              <a:cxn ang="0">
                <a:pos x="210" y="164"/>
              </a:cxn>
              <a:cxn ang="0">
                <a:pos x="224" y="166"/>
              </a:cxn>
              <a:cxn ang="0">
                <a:pos x="244" y="178"/>
              </a:cxn>
              <a:cxn ang="0">
                <a:pos x="246" y="178"/>
              </a:cxn>
              <a:cxn ang="0">
                <a:pos x="284" y="204"/>
              </a:cxn>
              <a:cxn ang="0">
                <a:pos x="320" y="186"/>
              </a:cxn>
              <a:cxn ang="0">
                <a:pos x="332" y="188"/>
              </a:cxn>
              <a:cxn ang="0">
                <a:pos x="340" y="168"/>
              </a:cxn>
              <a:cxn ang="0">
                <a:pos x="354" y="152"/>
              </a:cxn>
            </a:cxnLst>
            <a:rect l="0" t="0" r="r" b="b"/>
            <a:pathLst>
              <a:path w="356" h="204">
                <a:moveTo>
                  <a:pt x="354" y="152"/>
                </a:moveTo>
                <a:lnTo>
                  <a:pt x="356" y="134"/>
                </a:lnTo>
                <a:lnTo>
                  <a:pt x="348" y="116"/>
                </a:lnTo>
                <a:lnTo>
                  <a:pt x="332" y="72"/>
                </a:lnTo>
                <a:lnTo>
                  <a:pt x="330" y="56"/>
                </a:lnTo>
                <a:lnTo>
                  <a:pt x="326" y="50"/>
                </a:lnTo>
                <a:lnTo>
                  <a:pt x="302" y="34"/>
                </a:lnTo>
                <a:lnTo>
                  <a:pt x="274" y="30"/>
                </a:lnTo>
                <a:lnTo>
                  <a:pt x="242" y="22"/>
                </a:lnTo>
                <a:lnTo>
                  <a:pt x="210" y="0"/>
                </a:lnTo>
                <a:lnTo>
                  <a:pt x="188" y="2"/>
                </a:lnTo>
                <a:lnTo>
                  <a:pt x="158" y="16"/>
                </a:lnTo>
                <a:lnTo>
                  <a:pt x="156" y="28"/>
                </a:lnTo>
                <a:lnTo>
                  <a:pt x="164" y="68"/>
                </a:lnTo>
                <a:lnTo>
                  <a:pt x="148" y="88"/>
                </a:lnTo>
                <a:lnTo>
                  <a:pt x="110" y="88"/>
                </a:lnTo>
                <a:lnTo>
                  <a:pt x="104" y="74"/>
                </a:lnTo>
                <a:lnTo>
                  <a:pt x="88" y="52"/>
                </a:lnTo>
                <a:lnTo>
                  <a:pt x="66" y="36"/>
                </a:lnTo>
                <a:lnTo>
                  <a:pt x="36" y="48"/>
                </a:lnTo>
                <a:lnTo>
                  <a:pt x="20" y="74"/>
                </a:lnTo>
                <a:lnTo>
                  <a:pt x="4" y="120"/>
                </a:lnTo>
                <a:lnTo>
                  <a:pt x="0" y="164"/>
                </a:lnTo>
                <a:lnTo>
                  <a:pt x="6" y="184"/>
                </a:lnTo>
                <a:lnTo>
                  <a:pt x="10" y="182"/>
                </a:lnTo>
                <a:lnTo>
                  <a:pt x="12" y="182"/>
                </a:lnTo>
                <a:lnTo>
                  <a:pt x="14" y="174"/>
                </a:lnTo>
                <a:lnTo>
                  <a:pt x="22" y="168"/>
                </a:lnTo>
                <a:lnTo>
                  <a:pt x="26" y="164"/>
                </a:lnTo>
                <a:lnTo>
                  <a:pt x="30" y="160"/>
                </a:lnTo>
                <a:lnTo>
                  <a:pt x="38" y="162"/>
                </a:lnTo>
                <a:lnTo>
                  <a:pt x="40" y="158"/>
                </a:lnTo>
                <a:lnTo>
                  <a:pt x="48" y="154"/>
                </a:lnTo>
                <a:lnTo>
                  <a:pt x="50" y="152"/>
                </a:lnTo>
                <a:lnTo>
                  <a:pt x="50" y="152"/>
                </a:lnTo>
                <a:lnTo>
                  <a:pt x="68" y="152"/>
                </a:lnTo>
                <a:lnTo>
                  <a:pt x="86" y="154"/>
                </a:lnTo>
                <a:lnTo>
                  <a:pt x="150" y="154"/>
                </a:lnTo>
                <a:lnTo>
                  <a:pt x="178" y="150"/>
                </a:lnTo>
                <a:lnTo>
                  <a:pt x="198" y="154"/>
                </a:lnTo>
                <a:lnTo>
                  <a:pt x="210" y="164"/>
                </a:lnTo>
                <a:lnTo>
                  <a:pt x="224" y="166"/>
                </a:lnTo>
                <a:lnTo>
                  <a:pt x="244" y="178"/>
                </a:lnTo>
                <a:lnTo>
                  <a:pt x="246" y="178"/>
                </a:lnTo>
                <a:lnTo>
                  <a:pt x="284" y="204"/>
                </a:lnTo>
                <a:lnTo>
                  <a:pt x="320" y="186"/>
                </a:lnTo>
                <a:lnTo>
                  <a:pt x="332" y="188"/>
                </a:lnTo>
                <a:lnTo>
                  <a:pt x="340" y="168"/>
                </a:lnTo>
                <a:lnTo>
                  <a:pt x="354" y="152"/>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48" name="Freeform 199">
            <a:extLst>
              <a:ext uri="{FF2B5EF4-FFF2-40B4-BE49-F238E27FC236}">
                <a16:creationId xmlns:a16="http://schemas.microsoft.com/office/drawing/2014/main" id="{B9460A2C-CB39-0C43-E1F5-4DC06D65887F}"/>
              </a:ext>
            </a:extLst>
          </p:cNvPr>
          <p:cNvSpPr>
            <a:spLocks/>
          </p:cNvSpPr>
          <p:nvPr/>
        </p:nvSpPr>
        <p:spPr bwMode="auto">
          <a:xfrm>
            <a:off x="10291716" y="3117544"/>
            <a:ext cx="368252" cy="285265"/>
          </a:xfrm>
          <a:custGeom>
            <a:avLst/>
            <a:gdLst/>
            <a:ahLst/>
            <a:cxnLst>
              <a:cxn ang="0">
                <a:pos x="284" y="54"/>
              </a:cxn>
              <a:cxn ang="0">
                <a:pos x="270" y="114"/>
              </a:cxn>
              <a:cxn ang="0">
                <a:pos x="248" y="128"/>
              </a:cxn>
              <a:cxn ang="0">
                <a:pos x="246" y="160"/>
              </a:cxn>
              <a:cxn ang="0">
                <a:pos x="238" y="190"/>
              </a:cxn>
              <a:cxn ang="0">
                <a:pos x="212" y="196"/>
              </a:cxn>
              <a:cxn ang="0">
                <a:pos x="188" y="214"/>
              </a:cxn>
              <a:cxn ang="0">
                <a:pos x="156" y="216"/>
              </a:cxn>
              <a:cxn ang="0">
                <a:pos x="150" y="220"/>
              </a:cxn>
              <a:cxn ang="0">
                <a:pos x="136" y="218"/>
              </a:cxn>
              <a:cxn ang="0">
                <a:pos x="124" y="190"/>
              </a:cxn>
              <a:cxn ang="0">
                <a:pos x="96" y="182"/>
              </a:cxn>
              <a:cxn ang="0">
                <a:pos x="92" y="174"/>
              </a:cxn>
              <a:cxn ang="0">
                <a:pos x="94" y="154"/>
              </a:cxn>
              <a:cxn ang="0">
                <a:pos x="86" y="126"/>
              </a:cxn>
              <a:cxn ang="0">
                <a:pos x="84" y="120"/>
              </a:cxn>
              <a:cxn ang="0">
                <a:pos x="54" y="122"/>
              </a:cxn>
              <a:cxn ang="0">
                <a:pos x="22" y="102"/>
              </a:cxn>
              <a:cxn ang="0">
                <a:pos x="0" y="104"/>
              </a:cxn>
              <a:cxn ang="0">
                <a:pos x="6" y="94"/>
              </a:cxn>
              <a:cxn ang="0">
                <a:pos x="8" y="76"/>
              </a:cxn>
              <a:cxn ang="0">
                <a:pos x="6" y="56"/>
              </a:cxn>
              <a:cxn ang="0">
                <a:pos x="6" y="34"/>
              </a:cxn>
              <a:cxn ang="0">
                <a:pos x="10" y="32"/>
              </a:cxn>
              <a:cxn ang="0">
                <a:pos x="12" y="32"/>
              </a:cxn>
              <a:cxn ang="0">
                <a:pos x="14" y="24"/>
              </a:cxn>
              <a:cxn ang="0">
                <a:pos x="22" y="18"/>
              </a:cxn>
              <a:cxn ang="0">
                <a:pos x="26" y="14"/>
              </a:cxn>
              <a:cxn ang="0">
                <a:pos x="30" y="10"/>
              </a:cxn>
              <a:cxn ang="0">
                <a:pos x="38" y="12"/>
              </a:cxn>
              <a:cxn ang="0">
                <a:pos x="40" y="8"/>
              </a:cxn>
              <a:cxn ang="0">
                <a:pos x="48" y="4"/>
              </a:cxn>
              <a:cxn ang="0">
                <a:pos x="50" y="2"/>
              </a:cxn>
              <a:cxn ang="0">
                <a:pos x="50" y="2"/>
              </a:cxn>
              <a:cxn ang="0">
                <a:pos x="68" y="2"/>
              </a:cxn>
              <a:cxn ang="0">
                <a:pos x="86" y="4"/>
              </a:cxn>
              <a:cxn ang="0">
                <a:pos x="150" y="4"/>
              </a:cxn>
              <a:cxn ang="0">
                <a:pos x="178" y="0"/>
              </a:cxn>
              <a:cxn ang="0">
                <a:pos x="198" y="4"/>
              </a:cxn>
              <a:cxn ang="0">
                <a:pos x="210" y="14"/>
              </a:cxn>
              <a:cxn ang="0">
                <a:pos x="224" y="16"/>
              </a:cxn>
              <a:cxn ang="0">
                <a:pos x="244" y="28"/>
              </a:cxn>
              <a:cxn ang="0">
                <a:pos x="246" y="28"/>
              </a:cxn>
              <a:cxn ang="0">
                <a:pos x="284" y="54"/>
              </a:cxn>
            </a:cxnLst>
            <a:rect l="0" t="0" r="r" b="b"/>
            <a:pathLst>
              <a:path w="284" h="220">
                <a:moveTo>
                  <a:pt x="284" y="54"/>
                </a:moveTo>
                <a:lnTo>
                  <a:pt x="270" y="114"/>
                </a:lnTo>
                <a:lnTo>
                  <a:pt x="248" y="128"/>
                </a:lnTo>
                <a:lnTo>
                  <a:pt x="246" y="160"/>
                </a:lnTo>
                <a:lnTo>
                  <a:pt x="238" y="190"/>
                </a:lnTo>
                <a:lnTo>
                  <a:pt x="212" y="196"/>
                </a:lnTo>
                <a:lnTo>
                  <a:pt x="188" y="214"/>
                </a:lnTo>
                <a:lnTo>
                  <a:pt x="156" y="216"/>
                </a:lnTo>
                <a:lnTo>
                  <a:pt x="150" y="220"/>
                </a:lnTo>
                <a:lnTo>
                  <a:pt x="136" y="218"/>
                </a:lnTo>
                <a:lnTo>
                  <a:pt x="124" y="190"/>
                </a:lnTo>
                <a:lnTo>
                  <a:pt x="96" y="182"/>
                </a:lnTo>
                <a:lnTo>
                  <a:pt x="92" y="174"/>
                </a:lnTo>
                <a:lnTo>
                  <a:pt x="94" y="154"/>
                </a:lnTo>
                <a:lnTo>
                  <a:pt x="86" y="126"/>
                </a:lnTo>
                <a:lnTo>
                  <a:pt x="84" y="120"/>
                </a:lnTo>
                <a:lnTo>
                  <a:pt x="54" y="122"/>
                </a:lnTo>
                <a:lnTo>
                  <a:pt x="22" y="102"/>
                </a:lnTo>
                <a:lnTo>
                  <a:pt x="0" y="104"/>
                </a:lnTo>
                <a:lnTo>
                  <a:pt x="6" y="94"/>
                </a:lnTo>
                <a:lnTo>
                  <a:pt x="8" y="76"/>
                </a:lnTo>
                <a:lnTo>
                  <a:pt x="6" y="56"/>
                </a:lnTo>
                <a:lnTo>
                  <a:pt x="6" y="34"/>
                </a:lnTo>
                <a:lnTo>
                  <a:pt x="10" y="32"/>
                </a:lnTo>
                <a:lnTo>
                  <a:pt x="12" y="32"/>
                </a:lnTo>
                <a:lnTo>
                  <a:pt x="14" y="24"/>
                </a:lnTo>
                <a:lnTo>
                  <a:pt x="22" y="18"/>
                </a:lnTo>
                <a:lnTo>
                  <a:pt x="26" y="14"/>
                </a:lnTo>
                <a:lnTo>
                  <a:pt x="30" y="10"/>
                </a:lnTo>
                <a:lnTo>
                  <a:pt x="38" y="12"/>
                </a:lnTo>
                <a:lnTo>
                  <a:pt x="40" y="8"/>
                </a:lnTo>
                <a:lnTo>
                  <a:pt x="48" y="4"/>
                </a:lnTo>
                <a:lnTo>
                  <a:pt x="50" y="2"/>
                </a:lnTo>
                <a:lnTo>
                  <a:pt x="50" y="2"/>
                </a:lnTo>
                <a:lnTo>
                  <a:pt x="68" y="2"/>
                </a:lnTo>
                <a:lnTo>
                  <a:pt x="86" y="4"/>
                </a:lnTo>
                <a:lnTo>
                  <a:pt x="150" y="4"/>
                </a:lnTo>
                <a:lnTo>
                  <a:pt x="178" y="0"/>
                </a:lnTo>
                <a:lnTo>
                  <a:pt x="198" y="4"/>
                </a:lnTo>
                <a:lnTo>
                  <a:pt x="210" y="14"/>
                </a:lnTo>
                <a:lnTo>
                  <a:pt x="224" y="16"/>
                </a:lnTo>
                <a:lnTo>
                  <a:pt x="244" y="28"/>
                </a:lnTo>
                <a:lnTo>
                  <a:pt x="246" y="28"/>
                </a:lnTo>
                <a:lnTo>
                  <a:pt x="284" y="54"/>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49" name="Freeform 201">
            <a:extLst>
              <a:ext uri="{FF2B5EF4-FFF2-40B4-BE49-F238E27FC236}">
                <a16:creationId xmlns:a16="http://schemas.microsoft.com/office/drawing/2014/main" id="{57D2A952-9BA7-A474-29A3-B2F2473BAEE3}"/>
              </a:ext>
            </a:extLst>
          </p:cNvPr>
          <p:cNvSpPr>
            <a:spLocks/>
          </p:cNvSpPr>
          <p:nvPr/>
        </p:nvSpPr>
        <p:spPr bwMode="auto">
          <a:xfrm>
            <a:off x="9826213" y="3304261"/>
            <a:ext cx="704086" cy="657406"/>
          </a:xfrm>
          <a:custGeom>
            <a:avLst/>
            <a:gdLst/>
            <a:ahLst/>
            <a:cxnLst>
              <a:cxn ang="0">
                <a:pos x="257" y="42"/>
              </a:cxn>
              <a:cxn ang="0">
                <a:pos x="236" y="4"/>
              </a:cxn>
              <a:cxn ang="0">
                <a:pos x="172" y="6"/>
              </a:cxn>
              <a:cxn ang="0">
                <a:pos x="116" y="40"/>
              </a:cxn>
              <a:cxn ang="0">
                <a:pos x="10" y="68"/>
              </a:cxn>
              <a:cxn ang="0">
                <a:pos x="12" y="88"/>
              </a:cxn>
              <a:cxn ang="0">
                <a:pos x="16" y="126"/>
              </a:cxn>
              <a:cxn ang="0">
                <a:pos x="0" y="166"/>
              </a:cxn>
              <a:cxn ang="0">
                <a:pos x="26" y="234"/>
              </a:cxn>
              <a:cxn ang="0">
                <a:pos x="24" y="282"/>
              </a:cxn>
              <a:cxn ang="0">
                <a:pos x="34" y="316"/>
              </a:cxn>
              <a:cxn ang="0">
                <a:pos x="32" y="334"/>
              </a:cxn>
              <a:cxn ang="0">
                <a:pos x="46" y="335"/>
              </a:cxn>
              <a:cxn ang="0">
                <a:pos x="100" y="363"/>
              </a:cxn>
              <a:cxn ang="0">
                <a:pos x="126" y="411"/>
              </a:cxn>
              <a:cxn ang="0">
                <a:pos x="134" y="389"/>
              </a:cxn>
              <a:cxn ang="0">
                <a:pos x="160" y="397"/>
              </a:cxn>
              <a:cxn ang="0">
                <a:pos x="184" y="399"/>
              </a:cxn>
              <a:cxn ang="0">
                <a:pos x="186" y="425"/>
              </a:cxn>
              <a:cxn ang="0">
                <a:pos x="218" y="433"/>
              </a:cxn>
              <a:cxn ang="0">
                <a:pos x="265" y="479"/>
              </a:cxn>
              <a:cxn ang="0">
                <a:pos x="279" y="463"/>
              </a:cxn>
              <a:cxn ang="0">
                <a:pos x="311" y="497"/>
              </a:cxn>
              <a:cxn ang="0">
                <a:pos x="387" y="475"/>
              </a:cxn>
              <a:cxn ang="0">
                <a:pos x="429" y="497"/>
              </a:cxn>
              <a:cxn ang="0">
                <a:pos x="461" y="507"/>
              </a:cxn>
              <a:cxn ang="0">
                <a:pos x="499" y="415"/>
              </a:cxn>
              <a:cxn ang="0">
                <a:pos x="539" y="385"/>
              </a:cxn>
              <a:cxn ang="0">
                <a:pos x="511" y="292"/>
              </a:cxn>
              <a:cxn ang="0">
                <a:pos x="507" y="272"/>
              </a:cxn>
              <a:cxn ang="0">
                <a:pos x="503" y="232"/>
              </a:cxn>
              <a:cxn ang="0">
                <a:pos x="507" y="192"/>
              </a:cxn>
              <a:cxn ang="0">
                <a:pos x="523" y="168"/>
              </a:cxn>
              <a:cxn ang="0">
                <a:pos x="507" y="114"/>
              </a:cxn>
              <a:cxn ang="0">
                <a:pos x="483" y="46"/>
              </a:cxn>
              <a:cxn ang="0">
                <a:pos x="421" y="42"/>
              </a:cxn>
              <a:cxn ang="0">
                <a:pos x="301" y="34"/>
              </a:cxn>
            </a:cxnLst>
            <a:rect l="0" t="0" r="r" b="b"/>
            <a:pathLst>
              <a:path w="543" h="507">
                <a:moveTo>
                  <a:pt x="291" y="32"/>
                </a:moveTo>
                <a:lnTo>
                  <a:pt x="257" y="42"/>
                </a:lnTo>
                <a:lnTo>
                  <a:pt x="240" y="34"/>
                </a:lnTo>
                <a:lnTo>
                  <a:pt x="236" y="4"/>
                </a:lnTo>
                <a:lnTo>
                  <a:pt x="230" y="0"/>
                </a:lnTo>
                <a:lnTo>
                  <a:pt x="172" y="6"/>
                </a:lnTo>
                <a:lnTo>
                  <a:pt x="138" y="20"/>
                </a:lnTo>
                <a:lnTo>
                  <a:pt x="116" y="40"/>
                </a:lnTo>
                <a:lnTo>
                  <a:pt x="32" y="62"/>
                </a:lnTo>
                <a:lnTo>
                  <a:pt x="10" y="68"/>
                </a:lnTo>
                <a:lnTo>
                  <a:pt x="10" y="72"/>
                </a:lnTo>
                <a:lnTo>
                  <a:pt x="12" y="88"/>
                </a:lnTo>
                <a:lnTo>
                  <a:pt x="10" y="88"/>
                </a:lnTo>
                <a:lnTo>
                  <a:pt x="16" y="126"/>
                </a:lnTo>
                <a:lnTo>
                  <a:pt x="12" y="138"/>
                </a:lnTo>
                <a:lnTo>
                  <a:pt x="0" y="166"/>
                </a:lnTo>
                <a:lnTo>
                  <a:pt x="20" y="188"/>
                </a:lnTo>
                <a:lnTo>
                  <a:pt x="26" y="234"/>
                </a:lnTo>
                <a:lnTo>
                  <a:pt x="16" y="260"/>
                </a:lnTo>
                <a:lnTo>
                  <a:pt x="24" y="282"/>
                </a:lnTo>
                <a:lnTo>
                  <a:pt x="32" y="288"/>
                </a:lnTo>
                <a:lnTo>
                  <a:pt x="34" y="316"/>
                </a:lnTo>
                <a:lnTo>
                  <a:pt x="22" y="341"/>
                </a:lnTo>
                <a:lnTo>
                  <a:pt x="32" y="334"/>
                </a:lnTo>
                <a:lnTo>
                  <a:pt x="34" y="328"/>
                </a:lnTo>
                <a:lnTo>
                  <a:pt x="46" y="335"/>
                </a:lnTo>
                <a:lnTo>
                  <a:pt x="68" y="353"/>
                </a:lnTo>
                <a:lnTo>
                  <a:pt x="100" y="363"/>
                </a:lnTo>
                <a:lnTo>
                  <a:pt x="110" y="397"/>
                </a:lnTo>
                <a:lnTo>
                  <a:pt x="126" y="411"/>
                </a:lnTo>
                <a:lnTo>
                  <a:pt x="140" y="407"/>
                </a:lnTo>
                <a:lnTo>
                  <a:pt x="134" y="389"/>
                </a:lnTo>
                <a:lnTo>
                  <a:pt x="162" y="397"/>
                </a:lnTo>
                <a:lnTo>
                  <a:pt x="160" y="397"/>
                </a:lnTo>
                <a:lnTo>
                  <a:pt x="176" y="401"/>
                </a:lnTo>
                <a:lnTo>
                  <a:pt x="184" y="399"/>
                </a:lnTo>
                <a:lnTo>
                  <a:pt x="184" y="411"/>
                </a:lnTo>
                <a:lnTo>
                  <a:pt x="186" y="425"/>
                </a:lnTo>
                <a:lnTo>
                  <a:pt x="216" y="435"/>
                </a:lnTo>
                <a:lnTo>
                  <a:pt x="218" y="433"/>
                </a:lnTo>
                <a:lnTo>
                  <a:pt x="245" y="471"/>
                </a:lnTo>
                <a:lnTo>
                  <a:pt x="265" y="479"/>
                </a:lnTo>
                <a:lnTo>
                  <a:pt x="269" y="469"/>
                </a:lnTo>
                <a:lnTo>
                  <a:pt x="279" y="463"/>
                </a:lnTo>
                <a:lnTo>
                  <a:pt x="303" y="499"/>
                </a:lnTo>
                <a:lnTo>
                  <a:pt x="311" y="497"/>
                </a:lnTo>
                <a:lnTo>
                  <a:pt x="341" y="481"/>
                </a:lnTo>
                <a:lnTo>
                  <a:pt x="387" y="475"/>
                </a:lnTo>
                <a:lnTo>
                  <a:pt x="429" y="491"/>
                </a:lnTo>
                <a:lnTo>
                  <a:pt x="429" y="497"/>
                </a:lnTo>
                <a:lnTo>
                  <a:pt x="439" y="499"/>
                </a:lnTo>
                <a:lnTo>
                  <a:pt x="461" y="507"/>
                </a:lnTo>
                <a:lnTo>
                  <a:pt x="473" y="453"/>
                </a:lnTo>
                <a:lnTo>
                  <a:pt x="499" y="415"/>
                </a:lnTo>
                <a:lnTo>
                  <a:pt x="527" y="387"/>
                </a:lnTo>
                <a:lnTo>
                  <a:pt x="539" y="385"/>
                </a:lnTo>
                <a:lnTo>
                  <a:pt x="543" y="365"/>
                </a:lnTo>
                <a:lnTo>
                  <a:pt x="511" y="292"/>
                </a:lnTo>
                <a:lnTo>
                  <a:pt x="507" y="282"/>
                </a:lnTo>
                <a:lnTo>
                  <a:pt x="507" y="272"/>
                </a:lnTo>
                <a:lnTo>
                  <a:pt x="511" y="240"/>
                </a:lnTo>
                <a:lnTo>
                  <a:pt x="503" y="232"/>
                </a:lnTo>
                <a:lnTo>
                  <a:pt x="483" y="222"/>
                </a:lnTo>
                <a:lnTo>
                  <a:pt x="507" y="192"/>
                </a:lnTo>
                <a:lnTo>
                  <a:pt x="521" y="186"/>
                </a:lnTo>
                <a:lnTo>
                  <a:pt x="523" y="168"/>
                </a:lnTo>
                <a:lnTo>
                  <a:pt x="519" y="142"/>
                </a:lnTo>
                <a:lnTo>
                  <a:pt x="507" y="114"/>
                </a:lnTo>
                <a:lnTo>
                  <a:pt x="495" y="74"/>
                </a:lnTo>
                <a:lnTo>
                  <a:pt x="483" y="46"/>
                </a:lnTo>
                <a:lnTo>
                  <a:pt x="455" y="38"/>
                </a:lnTo>
                <a:lnTo>
                  <a:pt x="421" y="42"/>
                </a:lnTo>
                <a:lnTo>
                  <a:pt x="379" y="44"/>
                </a:lnTo>
                <a:lnTo>
                  <a:pt x="301" y="34"/>
                </a:lnTo>
                <a:lnTo>
                  <a:pt x="291" y="32"/>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0" name="Freeform 231">
            <a:extLst>
              <a:ext uri="{FF2B5EF4-FFF2-40B4-BE49-F238E27FC236}">
                <a16:creationId xmlns:a16="http://schemas.microsoft.com/office/drawing/2014/main" id="{1121ECFC-B735-9A09-59E8-E4D576487C80}"/>
              </a:ext>
            </a:extLst>
          </p:cNvPr>
          <p:cNvSpPr>
            <a:spLocks/>
          </p:cNvSpPr>
          <p:nvPr/>
        </p:nvSpPr>
        <p:spPr bwMode="auto">
          <a:xfrm>
            <a:off x="10211322" y="1525243"/>
            <a:ext cx="627584" cy="1182555"/>
          </a:xfrm>
          <a:custGeom>
            <a:avLst/>
            <a:gdLst/>
            <a:ahLst/>
            <a:cxnLst/>
            <a:rect l="l" t="t" r="r" b="b"/>
            <a:pathLst>
              <a:path w="768350" h="1447800">
                <a:moveTo>
                  <a:pt x="15875" y="1390650"/>
                </a:moveTo>
                <a:lnTo>
                  <a:pt x="41275" y="1409700"/>
                </a:lnTo>
                <a:lnTo>
                  <a:pt x="25400" y="1435100"/>
                </a:lnTo>
                <a:lnTo>
                  <a:pt x="6350" y="1438275"/>
                </a:lnTo>
                <a:lnTo>
                  <a:pt x="0" y="1406525"/>
                </a:lnTo>
                <a:close/>
                <a:moveTo>
                  <a:pt x="409575" y="0"/>
                </a:moveTo>
                <a:lnTo>
                  <a:pt x="438150" y="34925"/>
                </a:lnTo>
                <a:lnTo>
                  <a:pt x="460375" y="41275"/>
                </a:lnTo>
                <a:lnTo>
                  <a:pt x="476250" y="47625"/>
                </a:lnTo>
                <a:lnTo>
                  <a:pt x="485775" y="79375"/>
                </a:lnTo>
                <a:lnTo>
                  <a:pt x="476250" y="101600"/>
                </a:lnTo>
                <a:lnTo>
                  <a:pt x="469900" y="123825"/>
                </a:lnTo>
                <a:lnTo>
                  <a:pt x="479425" y="136525"/>
                </a:lnTo>
                <a:lnTo>
                  <a:pt x="466725" y="149225"/>
                </a:lnTo>
                <a:lnTo>
                  <a:pt x="454025" y="161925"/>
                </a:lnTo>
                <a:lnTo>
                  <a:pt x="463550" y="206375"/>
                </a:lnTo>
                <a:lnTo>
                  <a:pt x="473075" y="234950"/>
                </a:lnTo>
                <a:lnTo>
                  <a:pt x="485775" y="260350"/>
                </a:lnTo>
                <a:lnTo>
                  <a:pt x="504825" y="266700"/>
                </a:lnTo>
                <a:lnTo>
                  <a:pt x="539750" y="292100"/>
                </a:lnTo>
                <a:lnTo>
                  <a:pt x="561975" y="317500"/>
                </a:lnTo>
                <a:lnTo>
                  <a:pt x="565150" y="339725"/>
                </a:lnTo>
                <a:lnTo>
                  <a:pt x="546100" y="377825"/>
                </a:lnTo>
                <a:lnTo>
                  <a:pt x="536575" y="406400"/>
                </a:lnTo>
                <a:lnTo>
                  <a:pt x="527050" y="428625"/>
                </a:lnTo>
                <a:lnTo>
                  <a:pt x="552450" y="473075"/>
                </a:lnTo>
                <a:lnTo>
                  <a:pt x="609600" y="587375"/>
                </a:lnTo>
                <a:lnTo>
                  <a:pt x="596900" y="606425"/>
                </a:lnTo>
                <a:lnTo>
                  <a:pt x="596900" y="644525"/>
                </a:lnTo>
                <a:lnTo>
                  <a:pt x="596900" y="695325"/>
                </a:lnTo>
                <a:lnTo>
                  <a:pt x="619125" y="727075"/>
                </a:lnTo>
                <a:lnTo>
                  <a:pt x="647700" y="749300"/>
                </a:lnTo>
                <a:lnTo>
                  <a:pt x="679450" y="819150"/>
                </a:lnTo>
                <a:lnTo>
                  <a:pt x="660400" y="860425"/>
                </a:lnTo>
                <a:lnTo>
                  <a:pt x="647700" y="873125"/>
                </a:lnTo>
                <a:lnTo>
                  <a:pt x="663575" y="889000"/>
                </a:lnTo>
                <a:lnTo>
                  <a:pt x="695325" y="908050"/>
                </a:lnTo>
                <a:lnTo>
                  <a:pt x="768350" y="971550"/>
                </a:lnTo>
                <a:lnTo>
                  <a:pt x="758825" y="1028700"/>
                </a:lnTo>
                <a:lnTo>
                  <a:pt x="742950" y="1060450"/>
                </a:lnTo>
                <a:lnTo>
                  <a:pt x="682625" y="1171575"/>
                </a:lnTo>
                <a:lnTo>
                  <a:pt x="565150" y="1339850"/>
                </a:lnTo>
                <a:lnTo>
                  <a:pt x="527050" y="1355725"/>
                </a:lnTo>
                <a:lnTo>
                  <a:pt x="488950" y="1365250"/>
                </a:lnTo>
                <a:lnTo>
                  <a:pt x="393700" y="1400175"/>
                </a:lnTo>
                <a:lnTo>
                  <a:pt x="358775" y="1419225"/>
                </a:lnTo>
                <a:lnTo>
                  <a:pt x="330200" y="1431925"/>
                </a:lnTo>
                <a:lnTo>
                  <a:pt x="323850" y="1428750"/>
                </a:lnTo>
                <a:lnTo>
                  <a:pt x="314325" y="1435100"/>
                </a:lnTo>
                <a:lnTo>
                  <a:pt x="241300" y="1447800"/>
                </a:lnTo>
                <a:lnTo>
                  <a:pt x="222250" y="1419225"/>
                </a:lnTo>
                <a:lnTo>
                  <a:pt x="196850" y="1390650"/>
                </a:lnTo>
                <a:lnTo>
                  <a:pt x="174625" y="1384300"/>
                </a:lnTo>
                <a:lnTo>
                  <a:pt x="130175" y="1371600"/>
                </a:lnTo>
                <a:lnTo>
                  <a:pt x="114300" y="1346200"/>
                </a:lnTo>
                <a:lnTo>
                  <a:pt x="111125" y="1298575"/>
                </a:lnTo>
                <a:lnTo>
                  <a:pt x="127000" y="1270000"/>
                </a:lnTo>
                <a:lnTo>
                  <a:pt x="130175" y="1219200"/>
                </a:lnTo>
                <a:lnTo>
                  <a:pt x="101600" y="1146175"/>
                </a:lnTo>
                <a:lnTo>
                  <a:pt x="95250" y="1050925"/>
                </a:lnTo>
                <a:lnTo>
                  <a:pt x="142875" y="996950"/>
                </a:lnTo>
                <a:lnTo>
                  <a:pt x="149225" y="1003300"/>
                </a:lnTo>
                <a:lnTo>
                  <a:pt x="158750" y="993775"/>
                </a:lnTo>
                <a:lnTo>
                  <a:pt x="174625" y="962025"/>
                </a:lnTo>
                <a:lnTo>
                  <a:pt x="168275" y="942975"/>
                </a:lnTo>
                <a:lnTo>
                  <a:pt x="184150" y="923925"/>
                </a:lnTo>
                <a:lnTo>
                  <a:pt x="193675" y="923925"/>
                </a:lnTo>
                <a:lnTo>
                  <a:pt x="238125" y="876300"/>
                </a:lnTo>
                <a:lnTo>
                  <a:pt x="279400" y="812800"/>
                </a:lnTo>
                <a:lnTo>
                  <a:pt x="288925" y="793750"/>
                </a:lnTo>
                <a:lnTo>
                  <a:pt x="292100" y="774700"/>
                </a:lnTo>
                <a:lnTo>
                  <a:pt x="327025" y="742950"/>
                </a:lnTo>
                <a:lnTo>
                  <a:pt x="346075" y="752475"/>
                </a:lnTo>
                <a:lnTo>
                  <a:pt x="339725" y="669925"/>
                </a:lnTo>
                <a:lnTo>
                  <a:pt x="314325" y="641350"/>
                </a:lnTo>
                <a:lnTo>
                  <a:pt x="301625" y="641350"/>
                </a:lnTo>
                <a:lnTo>
                  <a:pt x="288925" y="625475"/>
                </a:lnTo>
                <a:lnTo>
                  <a:pt x="285750" y="622300"/>
                </a:lnTo>
                <a:lnTo>
                  <a:pt x="279400" y="625475"/>
                </a:lnTo>
                <a:lnTo>
                  <a:pt x="266700" y="619125"/>
                </a:lnTo>
                <a:lnTo>
                  <a:pt x="247650" y="571500"/>
                </a:lnTo>
                <a:lnTo>
                  <a:pt x="241300" y="511175"/>
                </a:lnTo>
                <a:lnTo>
                  <a:pt x="241300" y="466725"/>
                </a:lnTo>
                <a:lnTo>
                  <a:pt x="219075" y="428625"/>
                </a:lnTo>
                <a:lnTo>
                  <a:pt x="228600" y="390525"/>
                </a:lnTo>
                <a:lnTo>
                  <a:pt x="209550" y="317500"/>
                </a:lnTo>
                <a:lnTo>
                  <a:pt x="187325" y="276225"/>
                </a:lnTo>
                <a:lnTo>
                  <a:pt x="165100" y="257175"/>
                </a:lnTo>
                <a:lnTo>
                  <a:pt x="114300" y="228600"/>
                </a:lnTo>
                <a:lnTo>
                  <a:pt x="69850" y="184150"/>
                </a:lnTo>
                <a:lnTo>
                  <a:pt x="53975" y="168275"/>
                </a:lnTo>
                <a:lnTo>
                  <a:pt x="76200" y="142875"/>
                </a:lnTo>
                <a:lnTo>
                  <a:pt x="92075" y="130175"/>
                </a:lnTo>
                <a:lnTo>
                  <a:pt x="107950" y="133350"/>
                </a:lnTo>
                <a:lnTo>
                  <a:pt x="120650" y="155575"/>
                </a:lnTo>
                <a:lnTo>
                  <a:pt x="136525" y="180975"/>
                </a:lnTo>
                <a:lnTo>
                  <a:pt x="158750" y="212725"/>
                </a:lnTo>
                <a:lnTo>
                  <a:pt x="190500" y="222250"/>
                </a:lnTo>
                <a:lnTo>
                  <a:pt x="215900" y="209550"/>
                </a:lnTo>
                <a:lnTo>
                  <a:pt x="234950" y="200025"/>
                </a:lnTo>
                <a:lnTo>
                  <a:pt x="250825" y="206375"/>
                </a:lnTo>
                <a:lnTo>
                  <a:pt x="279400" y="222250"/>
                </a:lnTo>
                <a:lnTo>
                  <a:pt x="314325" y="146050"/>
                </a:lnTo>
                <a:lnTo>
                  <a:pt x="311150" y="123825"/>
                </a:lnTo>
                <a:lnTo>
                  <a:pt x="314325" y="101600"/>
                </a:lnTo>
                <a:lnTo>
                  <a:pt x="327025" y="53975"/>
                </a:lnTo>
                <a:lnTo>
                  <a:pt x="342900" y="28575"/>
                </a:lnTo>
                <a:lnTo>
                  <a:pt x="365125" y="15875"/>
                </a:lnTo>
                <a:close/>
              </a:path>
            </a:pathLst>
          </a:custGeom>
          <a:solidFill>
            <a:srgbClr val="7DD2E6"/>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1" name="Freeform 232">
            <a:extLst>
              <a:ext uri="{FF2B5EF4-FFF2-40B4-BE49-F238E27FC236}">
                <a16:creationId xmlns:a16="http://schemas.microsoft.com/office/drawing/2014/main" id="{AE67EED3-0AC5-7E8D-B0EB-3AE37EB464C7}"/>
              </a:ext>
            </a:extLst>
          </p:cNvPr>
          <p:cNvSpPr>
            <a:spLocks/>
          </p:cNvSpPr>
          <p:nvPr/>
        </p:nvSpPr>
        <p:spPr bwMode="auto">
          <a:xfrm>
            <a:off x="10343581" y="2736325"/>
            <a:ext cx="363066" cy="230804"/>
          </a:xfrm>
          <a:custGeom>
            <a:avLst/>
            <a:gdLst/>
            <a:ahLst/>
            <a:cxnLst/>
            <a:rect l="l" t="t" r="r" b="b"/>
            <a:pathLst>
              <a:path w="444500" h="282575">
                <a:moveTo>
                  <a:pt x="82550" y="158750"/>
                </a:moveTo>
                <a:lnTo>
                  <a:pt x="95250" y="171450"/>
                </a:lnTo>
                <a:lnTo>
                  <a:pt x="85725" y="190500"/>
                </a:lnTo>
                <a:lnTo>
                  <a:pt x="63500" y="212725"/>
                </a:lnTo>
                <a:lnTo>
                  <a:pt x="22225" y="250825"/>
                </a:lnTo>
                <a:lnTo>
                  <a:pt x="9525" y="250825"/>
                </a:lnTo>
                <a:lnTo>
                  <a:pt x="0" y="196850"/>
                </a:lnTo>
                <a:lnTo>
                  <a:pt x="22225" y="168275"/>
                </a:lnTo>
                <a:close/>
                <a:moveTo>
                  <a:pt x="50800" y="92075"/>
                </a:moveTo>
                <a:lnTo>
                  <a:pt x="76200" y="107950"/>
                </a:lnTo>
                <a:lnTo>
                  <a:pt x="82550" y="127000"/>
                </a:lnTo>
                <a:lnTo>
                  <a:pt x="66675" y="133350"/>
                </a:lnTo>
                <a:lnTo>
                  <a:pt x="38100" y="127000"/>
                </a:lnTo>
                <a:close/>
                <a:moveTo>
                  <a:pt x="295275" y="0"/>
                </a:moveTo>
                <a:lnTo>
                  <a:pt x="330200" y="3175"/>
                </a:lnTo>
                <a:lnTo>
                  <a:pt x="355600" y="15875"/>
                </a:lnTo>
                <a:lnTo>
                  <a:pt x="419100" y="15875"/>
                </a:lnTo>
                <a:lnTo>
                  <a:pt x="434975" y="9525"/>
                </a:lnTo>
                <a:lnTo>
                  <a:pt x="431800" y="47625"/>
                </a:lnTo>
                <a:lnTo>
                  <a:pt x="409575" y="123825"/>
                </a:lnTo>
                <a:lnTo>
                  <a:pt x="428625" y="212725"/>
                </a:lnTo>
                <a:lnTo>
                  <a:pt x="444500" y="225425"/>
                </a:lnTo>
                <a:lnTo>
                  <a:pt x="434975" y="238125"/>
                </a:lnTo>
                <a:lnTo>
                  <a:pt x="425450" y="244475"/>
                </a:lnTo>
                <a:lnTo>
                  <a:pt x="415925" y="282575"/>
                </a:lnTo>
                <a:lnTo>
                  <a:pt x="371475" y="276225"/>
                </a:lnTo>
                <a:lnTo>
                  <a:pt x="320675" y="263525"/>
                </a:lnTo>
                <a:lnTo>
                  <a:pt x="269875" y="228600"/>
                </a:lnTo>
                <a:lnTo>
                  <a:pt x="234950" y="231775"/>
                </a:lnTo>
                <a:lnTo>
                  <a:pt x="187325" y="254000"/>
                </a:lnTo>
                <a:lnTo>
                  <a:pt x="196850" y="187325"/>
                </a:lnTo>
                <a:lnTo>
                  <a:pt x="184150" y="180975"/>
                </a:lnTo>
                <a:lnTo>
                  <a:pt x="177800" y="196850"/>
                </a:lnTo>
                <a:lnTo>
                  <a:pt x="142875" y="187325"/>
                </a:lnTo>
                <a:lnTo>
                  <a:pt x="120650" y="161925"/>
                </a:lnTo>
                <a:lnTo>
                  <a:pt x="111125" y="120650"/>
                </a:lnTo>
                <a:lnTo>
                  <a:pt x="114300" y="66675"/>
                </a:lnTo>
                <a:lnTo>
                  <a:pt x="168275" y="38100"/>
                </a:lnTo>
                <a:lnTo>
                  <a:pt x="247650" y="22225"/>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2" name="Freeform 235">
            <a:extLst>
              <a:ext uri="{FF2B5EF4-FFF2-40B4-BE49-F238E27FC236}">
                <a16:creationId xmlns:a16="http://schemas.microsoft.com/office/drawing/2014/main" id="{3D71C4F8-AF42-353B-607B-6380348190B8}"/>
              </a:ext>
            </a:extLst>
          </p:cNvPr>
          <p:cNvSpPr>
            <a:spLocks/>
          </p:cNvSpPr>
          <p:nvPr/>
        </p:nvSpPr>
        <p:spPr bwMode="auto">
          <a:xfrm>
            <a:off x="9701734" y="1662689"/>
            <a:ext cx="727426" cy="1561179"/>
          </a:xfrm>
          <a:custGeom>
            <a:avLst/>
            <a:gdLst/>
            <a:ahLst/>
            <a:cxnLst/>
            <a:rect l="l" t="t" r="r" b="b"/>
            <a:pathLst>
              <a:path w="890587" h="1911350">
                <a:moveTo>
                  <a:pt x="428625" y="1651000"/>
                </a:moveTo>
                <a:lnTo>
                  <a:pt x="393700" y="1739900"/>
                </a:lnTo>
                <a:lnTo>
                  <a:pt x="365125" y="1806575"/>
                </a:lnTo>
                <a:lnTo>
                  <a:pt x="368300" y="1762125"/>
                </a:lnTo>
                <a:lnTo>
                  <a:pt x="381000" y="1724025"/>
                </a:lnTo>
                <a:close/>
                <a:moveTo>
                  <a:pt x="547687" y="1571625"/>
                </a:moveTo>
                <a:lnTo>
                  <a:pt x="569912" y="1574800"/>
                </a:lnTo>
                <a:lnTo>
                  <a:pt x="569912" y="1590675"/>
                </a:lnTo>
                <a:lnTo>
                  <a:pt x="566737" y="1597025"/>
                </a:lnTo>
                <a:lnTo>
                  <a:pt x="560387" y="1600200"/>
                </a:lnTo>
                <a:lnTo>
                  <a:pt x="554037" y="1619250"/>
                </a:lnTo>
                <a:lnTo>
                  <a:pt x="554037" y="1638300"/>
                </a:lnTo>
                <a:lnTo>
                  <a:pt x="536575" y="1676400"/>
                </a:lnTo>
                <a:lnTo>
                  <a:pt x="511175" y="1695450"/>
                </a:lnTo>
                <a:lnTo>
                  <a:pt x="504825" y="1631950"/>
                </a:lnTo>
                <a:lnTo>
                  <a:pt x="520700" y="1603375"/>
                </a:lnTo>
                <a:close/>
                <a:moveTo>
                  <a:pt x="652462" y="0"/>
                </a:moveTo>
                <a:lnTo>
                  <a:pt x="677862" y="0"/>
                </a:lnTo>
                <a:lnTo>
                  <a:pt x="693737" y="15875"/>
                </a:lnTo>
                <a:lnTo>
                  <a:pt x="738187" y="60325"/>
                </a:lnTo>
                <a:lnTo>
                  <a:pt x="788987" y="88900"/>
                </a:lnTo>
                <a:lnTo>
                  <a:pt x="811212" y="107950"/>
                </a:lnTo>
                <a:lnTo>
                  <a:pt x="833437" y="149225"/>
                </a:lnTo>
                <a:lnTo>
                  <a:pt x="852487" y="222250"/>
                </a:lnTo>
                <a:lnTo>
                  <a:pt x="842962" y="260350"/>
                </a:lnTo>
                <a:lnTo>
                  <a:pt x="865187" y="298450"/>
                </a:lnTo>
                <a:lnTo>
                  <a:pt x="865187" y="342900"/>
                </a:lnTo>
                <a:lnTo>
                  <a:pt x="871537" y="403225"/>
                </a:lnTo>
                <a:lnTo>
                  <a:pt x="890587" y="450850"/>
                </a:lnTo>
                <a:lnTo>
                  <a:pt x="849312" y="460375"/>
                </a:lnTo>
                <a:lnTo>
                  <a:pt x="811212" y="450850"/>
                </a:lnTo>
                <a:lnTo>
                  <a:pt x="782637" y="454025"/>
                </a:lnTo>
                <a:lnTo>
                  <a:pt x="773112" y="492125"/>
                </a:lnTo>
                <a:lnTo>
                  <a:pt x="763587" y="517525"/>
                </a:lnTo>
                <a:lnTo>
                  <a:pt x="731837" y="571500"/>
                </a:lnTo>
                <a:lnTo>
                  <a:pt x="719137" y="596900"/>
                </a:lnTo>
                <a:lnTo>
                  <a:pt x="722312" y="625475"/>
                </a:lnTo>
                <a:lnTo>
                  <a:pt x="731837" y="638175"/>
                </a:lnTo>
                <a:lnTo>
                  <a:pt x="731837" y="666750"/>
                </a:lnTo>
                <a:lnTo>
                  <a:pt x="722312" y="685800"/>
                </a:lnTo>
                <a:lnTo>
                  <a:pt x="687387" y="739775"/>
                </a:lnTo>
                <a:lnTo>
                  <a:pt x="649287" y="771525"/>
                </a:lnTo>
                <a:lnTo>
                  <a:pt x="601662" y="793750"/>
                </a:lnTo>
                <a:lnTo>
                  <a:pt x="595312" y="812800"/>
                </a:lnTo>
                <a:lnTo>
                  <a:pt x="544512" y="854075"/>
                </a:lnTo>
                <a:lnTo>
                  <a:pt x="550862" y="866775"/>
                </a:lnTo>
                <a:lnTo>
                  <a:pt x="527050" y="901700"/>
                </a:lnTo>
                <a:lnTo>
                  <a:pt x="508000" y="927100"/>
                </a:lnTo>
                <a:lnTo>
                  <a:pt x="495299" y="927100"/>
                </a:lnTo>
                <a:lnTo>
                  <a:pt x="485775" y="923925"/>
                </a:lnTo>
                <a:lnTo>
                  <a:pt x="476250" y="984250"/>
                </a:lnTo>
                <a:lnTo>
                  <a:pt x="466725" y="1035050"/>
                </a:lnTo>
                <a:lnTo>
                  <a:pt x="457200" y="1038225"/>
                </a:lnTo>
                <a:lnTo>
                  <a:pt x="450850" y="1073150"/>
                </a:lnTo>
                <a:lnTo>
                  <a:pt x="463550" y="1089025"/>
                </a:lnTo>
                <a:lnTo>
                  <a:pt x="454025" y="1104900"/>
                </a:lnTo>
                <a:lnTo>
                  <a:pt x="450850" y="1143000"/>
                </a:lnTo>
                <a:lnTo>
                  <a:pt x="469900" y="1187450"/>
                </a:lnTo>
                <a:lnTo>
                  <a:pt x="508000" y="1196975"/>
                </a:lnTo>
                <a:lnTo>
                  <a:pt x="547687" y="1244600"/>
                </a:lnTo>
                <a:lnTo>
                  <a:pt x="560387" y="1260475"/>
                </a:lnTo>
                <a:lnTo>
                  <a:pt x="569912" y="1285875"/>
                </a:lnTo>
                <a:lnTo>
                  <a:pt x="554037" y="1330325"/>
                </a:lnTo>
                <a:lnTo>
                  <a:pt x="495299" y="1425575"/>
                </a:lnTo>
                <a:lnTo>
                  <a:pt x="444500" y="1454150"/>
                </a:lnTo>
                <a:lnTo>
                  <a:pt x="419100" y="1470025"/>
                </a:lnTo>
                <a:lnTo>
                  <a:pt x="409575" y="1501775"/>
                </a:lnTo>
                <a:lnTo>
                  <a:pt x="396875" y="1558925"/>
                </a:lnTo>
                <a:lnTo>
                  <a:pt x="400050" y="1590675"/>
                </a:lnTo>
                <a:lnTo>
                  <a:pt x="400050" y="1603375"/>
                </a:lnTo>
                <a:lnTo>
                  <a:pt x="393700" y="1638300"/>
                </a:lnTo>
                <a:lnTo>
                  <a:pt x="368300" y="1733550"/>
                </a:lnTo>
                <a:lnTo>
                  <a:pt x="333375" y="1803400"/>
                </a:lnTo>
                <a:lnTo>
                  <a:pt x="301625" y="1803400"/>
                </a:lnTo>
                <a:lnTo>
                  <a:pt x="244475" y="1806575"/>
                </a:lnTo>
                <a:lnTo>
                  <a:pt x="200025" y="1835150"/>
                </a:lnTo>
                <a:lnTo>
                  <a:pt x="187325" y="1854200"/>
                </a:lnTo>
                <a:lnTo>
                  <a:pt x="193675" y="1876425"/>
                </a:lnTo>
                <a:lnTo>
                  <a:pt x="196850" y="1895475"/>
                </a:lnTo>
                <a:lnTo>
                  <a:pt x="177800" y="1911350"/>
                </a:lnTo>
                <a:lnTo>
                  <a:pt x="152400" y="1908175"/>
                </a:lnTo>
                <a:lnTo>
                  <a:pt x="127000" y="1908175"/>
                </a:lnTo>
                <a:lnTo>
                  <a:pt x="76200" y="1901825"/>
                </a:lnTo>
                <a:lnTo>
                  <a:pt x="82550" y="1873250"/>
                </a:lnTo>
                <a:lnTo>
                  <a:pt x="76200" y="1828800"/>
                </a:lnTo>
                <a:lnTo>
                  <a:pt x="79375" y="1771650"/>
                </a:lnTo>
                <a:lnTo>
                  <a:pt x="88900" y="1727200"/>
                </a:lnTo>
                <a:lnTo>
                  <a:pt x="85725" y="1711325"/>
                </a:lnTo>
                <a:lnTo>
                  <a:pt x="53975" y="1663700"/>
                </a:lnTo>
                <a:lnTo>
                  <a:pt x="47625" y="1619250"/>
                </a:lnTo>
                <a:lnTo>
                  <a:pt x="34925" y="1571625"/>
                </a:lnTo>
                <a:lnTo>
                  <a:pt x="28575" y="1520825"/>
                </a:lnTo>
                <a:lnTo>
                  <a:pt x="22225" y="1479550"/>
                </a:lnTo>
                <a:lnTo>
                  <a:pt x="3175" y="1447800"/>
                </a:lnTo>
                <a:lnTo>
                  <a:pt x="0" y="1384300"/>
                </a:lnTo>
                <a:lnTo>
                  <a:pt x="9525" y="1368425"/>
                </a:lnTo>
                <a:lnTo>
                  <a:pt x="38100" y="1397000"/>
                </a:lnTo>
                <a:lnTo>
                  <a:pt x="57150" y="1346200"/>
                </a:lnTo>
                <a:lnTo>
                  <a:pt x="53975" y="1301750"/>
                </a:lnTo>
                <a:lnTo>
                  <a:pt x="82550" y="1273175"/>
                </a:lnTo>
                <a:lnTo>
                  <a:pt x="117475" y="1241425"/>
                </a:lnTo>
                <a:lnTo>
                  <a:pt x="130175" y="1193800"/>
                </a:lnTo>
                <a:lnTo>
                  <a:pt x="127000" y="1155700"/>
                </a:lnTo>
                <a:lnTo>
                  <a:pt x="114300" y="1108075"/>
                </a:lnTo>
                <a:lnTo>
                  <a:pt x="142875" y="1101725"/>
                </a:lnTo>
                <a:lnTo>
                  <a:pt x="158750" y="1076325"/>
                </a:lnTo>
                <a:lnTo>
                  <a:pt x="158750" y="1050925"/>
                </a:lnTo>
                <a:lnTo>
                  <a:pt x="139700" y="1028700"/>
                </a:lnTo>
                <a:lnTo>
                  <a:pt x="130175" y="1019175"/>
                </a:lnTo>
                <a:lnTo>
                  <a:pt x="123825" y="987425"/>
                </a:lnTo>
                <a:lnTo>
                  <a:pt x="130175" y="952500"/>
                </a:lnTo>
                <a:lnTo>
                  <a:pt x="136525" y="911225"/>
                </a:lnTo>
                <a:lnTo>
                  <a:pt x="133350" y="863600"/>
                </a:lnTo>
                <a:lnTo>
                  <a:pt x="133350" y="787400"/>
                </a:lnTo>
                <a:lnTo>
                  <a:pt x="149225" y="752475"/>
                </a:lnTo>
                <a:lnTo>
                  <a:pt x="158750" y="733425"/>
                </a:lnTo>
                <a:lnTo>
                  <a:pt x="193675" y="695325"/>
                </a:lnTo>
                <a:lnTo>
                  <a:pt x="219075" y="682625"/>
                </a:lnTo>
                <a:lnTo>
                  <a:pt x="257175" y="688975"/>
                </a:lnTo>
                <a:lnTo>
                  <a:pt x="273050" y="695325"/>
                </a:lnTo>
                <a:lnTo>
                  <a:pt x="285750" y="673100"/>
                </a:lnTo>
                <a:lnTo>
                  <a:pt x="288925" y="657225"/>
                </a:lnTo>
                <a:lnTo>
                  <a:pt x="282575" y="628650"/>
                </a:lnTo>
                <a:lnTo>
                  <a:pt x="266700" y="603250"/>
                </a:lnTo>
                <a:lnTo>
                  <a:pt x="304800" y="549275"/>
                </a:lnTo>
                <a:lnTo>
                  <a:pt x="320675" y="514350"/>
                </a:lnTo>
                <a:lnTo>
                  <a:pt x="327025" y="476250"/>
                </a:lnTo>
                <a:lnTo>
                  <a:pt x="333375" y="428625"/>
                </a:lnTo>
                <a:lnTo>
                  <a:pt x="352425" y="409575"/>
                </a:lnTo>
                <a:lnTo>
                  <a:pt x="387350" y="381000"/>
                </a:lnTo>
                <a:lnTo>
                  <a:pt x="384175" y="355600"/>
                </a:lnTo>
                <a:lnTo>
                  <a:pt x="393700" y="342900"/>
                </a:lnTo>
                <a:lnTo>
                  <a:pt x="422275" y="304800"/>
                </a:lnTo>
                <a:lnTo>
                  <a:pt x="444500" y="276225"/>
                </a:lnTo>
                <a:lnTo>
                  <a:pt x="441325" y="238125"/>
                </a:lnTo>
                <a:lnTo>
                  <a:pt x="463550" y="184150"/>
                </a:lnTo>
                <a:lnTo>
                  <a:pt x="479425" y="155575"/>
                </a:lnTo>
                <a:lnTo>
                  <a:pt x="501649" y="133350"/>
                </a:lnTo>
                <a:lnTo>
                  <a:pt x="514350" y="139700"/>
                </a:lnTo>
                <a:lnTo>
                  <a:pt x="536575" y="149225"/>
                </a:lnTo>
                <a:lnTo>
                  <a:pt x="547687" y="120650"/>
                </a:lnTo>
                <a:lnTo>
                  <a:pt x="544512" y="88900"/>
                </a:lnTo>
                <a:lnTo>
                  <a:pt x="566737" y="73025"/>
                </a:lnTo>
                <a:lnTo>
                  <a:pt x="636587" y="98425"/>
                </a:lnTo>
                <a:lnTo>
                  <a:pt x="658812" y="69850"/>
                </a:lnTo>
                <a:lnTo>
                  <a:pt x="661987" y="22225"/>
                </a:lnTo>
                <a:close/>
              </a:path>
            </a:pathLst>
          </a:custGeom>
          <a:solidFill>
            <a:schemeClr val="accent3"/>
          </a:solidFill>
          <a:ln w="3175">
            <a:solidFill>
              <a:srgbClr val="1A1A3E"/>
            </a:solidFill>
            <a:prstDash val="solid"/>
            <a:round/>
            <a:headEnd/>
            <a:tailEnd/>
          </a:ln>
        </p:spPr>
        <p:txBody>
          <a:bodyPr/>
          <a:lstStyle/>
          <a:p>
            <a:pPr defTabSz="913943">
              <a:defRPr/>
            </a:pPr>
            <a:endParaRPr lang="en-US" sz="1798">
              <a:solidFill>
                <a:srgbClr val="879628"/>
              </a:solidFill>
              <a:latin typeface="Arial"/>
            </a:endParaRPr>
          </a:p>
        </p:txBody>
      </p:sp>
      <p:sp>
        <p:nvSpPr>
          <p:cNvPr id="53" name="Freeform 239">
            <a:extLst>
              <a:ext uri="{FF2B5EF4-FFF2-40B4-BE49-F238E27FC236}">
                <a16:creationId xmlns:a16="http://schemas.microsoft.com/office/drawing/2014/main" id="{521234F2-E0B1-7B62-7686-F9814C3DA8F1}"/>
              </a:ext>
            </a:extLst>
          </p:cNvPr>
          <p:cNvSpPr>
            <a:spLocks/>
          </p:cNvSpPr>
          <p:nvPr/>
        </p:nvSpPr>
        <p:spPr bwMode="auto">
          <a:xfrm>
            <a:off x="9209003" y="3234243"/>
            <a:ext cx="661297" cy="888212"/>
          </a:xfrm>
          <a:custGeom>
            <a:avLst/>
            <a:gdLst/>
            <a:ahLst/>
            <a:cxnLst/>
            <a:rect l="l" t="t" r="r" b="b"/>
            <a:pathLst>
              <a:path w="809625" h="1087437">
                <a:moveTo>
                  <a:pt x="717550" y="82550"/>
                </a:moveTo>
                <a:lnTo>
                  <a:pt x="736600" y="120650"/>
                </a:lnTo>
                <a:lnTo>
                  <a:pt x="730250" y="133350"/>
                </a:lnTo>
                <a:lnTo>
                  <a:pt x="692150" y="120650"/>
                </a:lnTo>
                <a:close/>
                <a:moveTo>
                  <a:pt x="333375" y="0"/>
                </a:moveTo>
                <a:lnTo>
                  <a:pt x="393700" y="22225"/>
                </a:lnTo>
                <a:lnTo>
                  <a:pt x="431800" y="47625"/>
                </a:lnTo>
                <a:lnTo>
                  <a:pt x="463550" y="92075"/>
                </a:lnTo>
                <a:lnTo>
                  <a:pt x="508000" y="101600"/>
                </a:lnTo>
                <a:lnTo>
                  <a:pt x="495300" y="158750"/>
                </a:lnTo>
                <a:lnTo>
                  <a:pt x="527050" y="155575"/>
                </a:lnTo>
                <a:lnTo>
                  <a:pt x="558800" y="155575"/>
                </a:lnTo>
                <a:lnTo>
                  <a:pt x="625475" y="120650"/>
                </a:lnTo>
                <a:lnTo>
                  <a:pt x="666750" y="114300"/>
                </a:lnTo>
                <a:lnTo>
                  <a:pt x="682625" y="127000"/>
                </a:lnTo>
                <a:lnTo>
                  <a:pt x="692150" y="142875"/>
                </a:lnTo>
                <a:lnTo>
                  <a:pt x="730250" y="155575"/>
                </a:lnTo>
                <a:lnTo>
                  <a:pt x="742950" y="206375"/>
                </a:lnTo>
                <a:lnTo>
                  <a:pt x="774700" y="225425"/>
                </a:lnTo>
                <a:lnTo>
                  <a:pt x="771525" y="225425"/>
                </a:lnTo>
                <a:lnTo>
                  <a:pt x="781050" y="285750"/>
                </a:lnTo>
                <a:lnTo>
                  <a:pt x="774700" y="304800"/>
                </a:lnTo>
                <a:lnTo>
                  <a:pt x="755650" y="349250"/>
                </a:lnTo>
                <a:lnTo>
                  <a:pt x="787400" y="384175"/>
                </a:lnTo>
                <a:lnTo>
                  <a:pt x="796925" y="457200"/>
                </a:lnTo>
                <a:lnTo>
                  <a:pt x="781050" y="498475"/>
                </a:lnTo>
                <a:lnTo>
                  <a:pt x="793750" y="533400"/>
                </a:lnTo>
                <a:lnTo>
                  <a:pt x="806450" y="542925"/>
                </a:lnTo>
                <a:lnTo>
                  <a:pt x="809625" y="587375"/>
                </a:lnTo>
                <a:lnTo>
                  <a:pt x="790575" y="627062"/>
                </a:lnTo>
                <a:lnTo>
                  <a:pt x="787400" y="627062"/>
                </a:lnTo>
                <a:lnTo>
                  <a:pt x="762000" y="603250"/>
                </a:lnTo>
                <a:lnTo>
                  <a:pt x="749300" y="615950"/>
                </a:lnTo>
                <a:lnTo>
                  <a:pt x="647700" y="652462"/>
                </a:lnTo>
                <a:lnTo>
                  <a:pt x="536575" y="681037"/>
                </a:lnTo>
                <a:lnTo>
                  <a:pt x="558800" y="731837"/>
                </a:lnTo>
                <a:lnTo>
                  <a:pt x="581025" y="792162"/>
                </a:lnTo>
                <a:lnTo>
                  <a:pt x="609600" y="839787"/>
                </a:lnTo>
                <a:lnTo>
                  <a:pt x="638175" y="877887"/>
                </a:lnTo>
                <a:lnTo>
                  <a:pt x="676275" y="912812"/>
                </a:lnTo>
                <a:lnTo>
                  <a:pt x="663575" y="947737"/>
                </a:lnTo>
                <a:lnTo>
                  <a:pt x="644525" y="938212"/>
                </a:lnTo>
                <a:lnTo>
                  <a:pt x="638175" y="938212"/>
                </a:lnTo>
                <a:lnTo>
                  <a:pt x="584200" y="985837"/>
                </a:lnTo>
                <a:lnTo>
                  <a:pt x="587375" y="1033462"/>
                </a:lnTo>
                <a:lnTo>
                  <a:pt x="584200" y="1087437"/>
                </a:lnTo>
                <a:lnTo>
                  <a:pt x="565150" y="1065212"/>
                </a:lnTo>
                <a:lnTo>
                  <a:pt x="508000" y="1049337"/>
                </a:lnTo>
                <a:lnTo>
                  <a:pt x="447675" y="1062037"/>
                </a:lnTo>
                <a:lnTo>
                  <a:pt x="412750" y="1077912"/>
                </a:lnTo>
                <a:lnTo>
                  <a:pt x="387350" y="1077912"/>
                </a:lnTo>
                <a:lnTo>
                  <a:pt x="381000" y="1058862"/>
                </a:lnTo>
                <a:lnTo>
                  <a:pt x="358775" y="1049337"/>
                </a:lnTo>
                <a:lnTo>
                  <a:pt x="333375" y="1042987"/>
                </a:lnTo>
                <a:lnTo>
                  <a:pt x="285750" y="1036637"/>
                </a:lnTo>
                <a:lnTo>
                  <a:pt x="269875" y="1042987"/>
                </a:lnTo>
                <a:lnTo>
                  <a:pt x="257175" y="1039812"/>
                </a:lnTo>
                <a:lnTo>
                  <a:pt x="193675" y="1014412"/>
                </a:lnTo>
                <a:lnTo>
                  <a:pt x="168275" y="1008062"/>
                </a:lnTo>
                <a:lnTo>
                  <a:pt x="165100" y="1014412"/>
                </a:lnTo>
                <a:lnTo>
                  <a:pt x="155575" y="1017587"/>
                </a:lnTo>
                <a:lnTo>
                  <a:pt x="139700" y="1017587"/>
                </a:lnTo>
                <a:lnTo>
                  <a:pt x="130175" y="1011237"/>
                </a:lnTo>
                <a:lnTo>
                  <a:pt x="73025" y="1008062"/>
                </a:lnTo>
                <a:lnTo>
                  <a:pt x="69850" y="1004887"/>
                </a:lnTo>
                <a:lnTo>
                  <a:pt x="66675" y="976312"/>
                </a:lnTo>
                <a:lnTo>
                  <a:pt x="82550" y="928687"/>
                </a:lnTo>
                <a:lnTo>
                  <a:pt x="127000" y="855662"/>
                </a:lnTo>
                <a:lnTo>
                  <a:pt x="161925" y="820737"/>
                </a:lnTo>
                <a:lnTo>
                  <a:pt x="73025" y="782637"/>
                </a:lnTo>
                <a:lnTo>
                  <a:pt x="38100" y="763587"/>
                </a:lnTo>
                <a:lnTo>
                  <a:pt x="3175" y="722312"/>
                </a:lnTo>
                <a:lnTo>
                  <a:pt x="22225" y="690562"/>
                </a:lnTo>
                <a:lnTo>
                  <a:pt x="0" y="623887"/>
                </a:lnTo>
                <a:lnTo>
                  <a:pt x="28575" y="584200"/>
                </a:lnTo>
                <a:lnTo>
                  <a:pt x="6350" y="536575"/>
                </a:lnTo>
                <a:lnTo>
                  <a:pt x="31750" y="469900"/>
                </a:lnTo>
                <a:lnTo>
                  <a:pt x="41275" y="431800"/>
                </a:lnTo>
                <a:lnTo>
                  <a:pt x="34925" y="403225"/>
                </a:lnTo>
                <a:lnTo>
                  <a:pt x="41275" y="384175"/>
                </a:lnTo>
                <a:lnTo>
                  <a:pt x="50800" y="390525"/>
                </a:lnTo>
                <a:lnTo>
                  <a:pt x="69850" y="393700"/>
                </a:lnTo>
                <a:lnTo>
                  <a:pt x="139700" y="333375"/>
                </a:lnTo>
                <a:lnTo>
                  <a:pt x="174625" y="209550"/>
                </a:lnTo>
                <a:lnTo>
                  <a:pt x="165100" y="180975"/>
                </a:lnTo>
                <a:lnTo>
                  <a:pt x="196850" y="149225"/>
                </a:lnTo>
                <a:lnTo>
                  <a:pt x="244475" y="155575"/>
                </a:lnTo>
                <a:lnTo>
                  <a:pt x="279400" y="177800"/>
                </a:lnTo>
                <a:lnTo>
                  <a:pt x="311150" y="139700"/>
                </a:lnTo>
                <a:lnTo>
                  <a:pt x="336550" y="120650"/>
                </a:lnTo>
                <a:lnTo>
                  <a:pt x="346075" y="88900"/>
                </a:lnTo>
                <a:lnTo>
                  <a:pt x="339725" y="31750"/>
                </a:lnTo>
                <a:close/>
              </a:path>
            </a:pathLst>
          </a:custGeom>
          <a:solidFill>
            <a:schemeClr val="accent3"/>
          </a:solidFill>
          <a:ln w="3175">
            <a:solidFill>
              <a:srgbClr val="1A1A3E"/>
            </a:solidFill>
            <a:prstDash val="solid"/>
            <a:round/>
            <a:headEnd/>
            <a:tailEnd/>
          </a:ln>
        </p:spPr>
        <p:txBody>
          <a:bodyPr/>
          <a:lstStyle/>
          <a:p>
            <a:pPr defTabSz="913943">
              <a:defRPr/>
            </a:pPr>
            <a:endParaRPr lang="en-US" sz="1798">
              <a:solidFill>
                <a:srgbClr val="879628"/>
              </a:solidFill>
              <a:latin typeface="Arial"/>
            </a:endParaRPr>
          </a:p>
        </p:txBody>
      </p:sp>
      <p:sp>
        <p:nvSpPr>
          <p:cNvPr id="54" name="Freeform 245">
            <a:extLst>
              <a:ext uri="{FF2B5EF4-FFF2-40B4-BE49-F238E27FC236}">
                <a16:creationId xmlns:a16="http://schemas.microsoft.com/office/drawing/2014/main" id="{C6704FA8-4C5B-2B47-456F-EFBE2732ECBF}"/>
              </a:ext>
            </a:extLst>
          </p:cNvPr>
          <p:cNvSpPr>
            <a:spLocks/>
          </p:cNvSpPr>
          <p:nvPr/>
        </p:nvSpPr>
        <p:spPr bwMode="auto">
          <a:xfrm>
            <a:off x="9468336" y="2938601"/>
            <a:ext cx="443458" cy="355285"/>
          </a:xfrm>
          <a:custGeom>
            <a:avLst/>
            <a:gdLst/>
            <a:ahLst/>
            <a:cxnLst/>
            <a:rect l="l" t="t" r="r" b="b"/>
            <a:pathLst>
              <a:path w="542925" h="434975">
                <a:moveTo>
                  <a:pt x="222250" y="384175"/>
                </a:moveTo>
                <a:lnTo>
                  <a:pt x="244475" y="406400"/>
                </a:lnTo>
                <a:lnTo>
                  <a:pt x="260350" y="400050"/>
                </a:lnTo>
                <a:lnTo>
                  <a:pt x="266700" y="428625"/>
                </a:lnTo>
                <a:lnTo>
                  <a:pt x="244475" y="434975"/>
                </a:lnTo>
                <a:lnTo>
                  <a:pt x="222250" y="425450"/>
                </a:lnTo>
                <a:lnTo>
                  <a:pt x="200025" y="409575"/>
                </a:lnTo>
                <a:lnTo>
                  <a:pt x="206375" y="387350"/>
                </a:lnTo>
                <a:close/>
                <a:moveTo>
                  <a:pt x="514350" y="368300"/>
                </a:moveTo>
                <a:lnTo>
                  <a:pt x="542925" y="390525"/>
                </a:lnTo>
                <a:lnTo>
                  <a:pt x="530225" y="406400"/>
                </a:lnTo>
                <a:lnTo>
                  <a:pt x="508000" y="384175"/>
                </a:lnTo>
                <a:close/>
                <a:moveTo>
                  <a:pt x="123825" y="288925"/>
                </a:moveTo>
                <a:lnTo>
                  <a:pt x="174625" y="295275"/>
                </a:lnTo>
                <a:lnTo>
                  <a:pt x="171450" y="307975"/>
                </a:lnTo>
                <a:lnTo>
                  <a:pt x="187325" y="292100"/>
                </a:lnTo>
                <a:lnTo>
                  <a:pt x="196850" y="330200"/>
                </a:lnTo>
                <a:lnTo>
                  <a:pt x="187325" y="361950"/>
                </a:lnTo>
                <a:lnTo>
                  <a:pt x="139700" y="355600"/>
                </a:lnTo>
                <a:lnTo>
                  <a:pt x="123825" y="323850"/>
                </a:lnTo>
                <a:close/>
                <a:moveTo>
                  <a:pt x="346075" y="241300"/>
                </a:moveTo>
                <a:lnTo>
                  <a:pt x="339725" y="311150"/>
                </a:lnTo>
                <a:lnTo>
                  <a:pt x="323850" y="355600"/>
                </a:lnTo>
                <a:lnTo>
                  <a:pt x="301625" y="384175"/>
                </a:lnTo>
                <a:lnTo>
                  <a:pt x="266700" y="377825"/>
                </a:lnTo>
                <a:lnTo>
                  <a:pt x="266700" y="368300"/>
                </a:lnTo>
                <a:lnTo>
                  <a:pt x="254000" y="358775"/>
                </a:lnTo>
                <a:lnTo>
                  <a:pt x="231775" y="342900"/>
                </a:lnTo>
                <a:lnTo>
                  <a:pt x="225425" y="288925"/>
                </a:lnTo>
                <a:lnTo>
                  <a:pt x="263525" y="254000"/>
                </a:lnTo>
                <a:close/>
                <a:moveTo>
                  <a:pt x="203200" y="0"/>
                </a:moveTo>
                <a:lnTo>
                  <a:pt x="209550" y="6350"/>
                </a:lnTo>
                <a:lnTo>
                  <a:pt x="212725" y="44450"/>
                </a:lnTo>
                <a:lnTo>
                  <a:pt x="177800" y="85725"/>
                </a:lnTo>
                <a:lnTo>
                  <a:pt x="184150" y="139700"/>
                </a:lnTo>
                <a:lnTo>
                  <a:pt x="190500" y="155575"/>
                </a:lnTo>
                <a:lnTo>
                  <a:pt x="215900" y="158750"/>
                </a:lnTo>
                <a:lnTo>
                  <a:pt x="222250" y="190500"/>
                </a:lnTo>
                <a:lnTo>
                  <a:pt x="184150" y="228600"/>
                </a:lnTo>
                <a:lnTo>
                  <a:pt x="111125" y="288925"/>
                </a:lnTo>
                <a:lnTo>
                  <a:pt x="85725" y="339725"/>
                </a:lnTo>
                <a:lnTo>
                  <a:pt x="88900" y="361950"/>
                </a:lnTo>
                <a:lnTo>
                  <a:pt x="76200" y="384175"/>
                </a:lnTo>
                <a:lnTo>
                  <a:pt x="15875" y="361950"/>
                </a:lnTo>
                <a:lnTo>
                  <a:pt x="22225" y="330200"/>
                </a:lnTo>
                <a:lnTo>
                  <a:pt x="25400" y="288925"/>
                </a:lnTo>
                <a:lnTo>
                  <a:pt x="3175" y="254000"/>
                </a:lnTo>
                <a:lnTo>
                  <a:pt x="0" y="180975"/>
                </a:lnTo>
                <a:lnTo>
                  <a:pt x="15875" y="117475"/>
                </a:lnTo>
                <a:lnTo>
                  <a:pt x="31750" y="85725"/>
                </a:lnTo>
                <a:lnTo>
                  <a:pt x="60325" y="53975"/>
                </a:lnTo>
                <a:lnTo>
                  <a:pt x="95250" y="57150"/>
                </a:lnTo>
                <a:lnTo>
                  <a:pt x="130175" y="50800"/>
                </a:lnTo>
                <a:lnTo>
                  <a:pt x="158750" y="25400"/>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5" name="Freeform 250">
            <a:extLst>
              <a:ext uri="{FF2B5EF4-FFF2-40B4-BE49-F238E27FC236}">
                <a16:creationId xmlns:a16="http://schemas.microsoft.com/office/drawing/2014/main" id="{46CCAE66-12D8-852D-6352-5DDDC308B35F}"/>
              </a:ext>
            </a:extLst>
          </p:cNvPr>
          <p:cNvSpPr>
            <a:spLocks/>
          </p:cNvSpPr>
          <p:nvPr/>
        </p:nvSpPr>
        <p:spPr bwMode="auto">
          <a:xfrm>
            <a:off x="9040437" y="3374280"/>
            <a:ext cx="311198" cy="298233"/>
          </a:xfrm>
          <a:custGeom>
            <a:avLst/>
            <a:gdLst/>
            <a:ahLst/>
            <a:cxnLst/>
            <a:rect l="l" t="t" r="r" b="b"/>
            <a:pathLst>
              <a:path w="381000" h="365125">
                <a:moveTo>
                  <a:pt x="44450" y="206375"/>
                </a:moveTo>
                <a:lnTo>
                  <a:pt x="76200" y="238125"/>
                </a:lnTo>
                <a:lnTo>
                  <a:pt x="34925" y="260350"/>
                </a:lnTo>
                <a:lnTo>
                  <a:pt x="6350" y="250825"/>
                </a:lnTo>
                <a:lnTo>
                  <a:pt x="3175" y="228600"/>
                </a:lnTo>
                <a:lnTo>
                  <a:pt x="0" y="222250"/>
                </a:lnTo>
                <a:close/>
                <a:moveTo>
                  <a:pt x="276225" y="0"/>
                </a:moveTo>
                <a:lnTo>
                  <a:pt x="346075" y="0"/>
                </a:lnTo>
                <a:lnTo>
                  <a:pt x="371475" y="9525"/>
                </a:lnTo>
                <a:lnTo>
                  <a:pt x="381000" y="38100"/>
                </a:lnTo>
                <a:lnTo>
                  <a:pt x="346075" y="161925"/>
                </a:lnTo>
                <a:lnTo>
                  <a:pt x="276225" y="222250"/>
                </a:lnTo>
                <a:lnTo>
                  <a:pt x="257175" y="219075"/>
                </a:lnTo>
                <a:lnTo>
                  <a:pt x="247650" y="212725"/>
                </a:lnTo>
                <a:lnTo>
                  <a:pt x="241300" y="231775"/>
                </a:lnTo>
                <a:lnTo>
                  <a:pt x="247650" y="260350"/>
                </a:lnTo>
                <a:lnTo>
                  <a:pt x="238125" y="298450"/>
                </a:lnTo>
                <a:lnTo>
                  <a:pt x="212725" y="365125"/>
                </a:lnTo>
                <a:lnTo>
                  <a:pt x="184150" y="358775"/>
                </a:lnTo>
                <a:lnTo>
                  <a:pt x="187325" y="342900"/>
                </a:lnTo>
                <a:lnTo>
                  <a:pt x="209550" y="307975"/>
                </a:lnTo>
                <a:lnTo>
                  <a:pt x="187325" y="292100"/>
                </a:lnTo>
                <a:lnTo>
                  <a:pt x="180975" y="282575"/>
                </a:lnTo>
                <a:lnTo>
                  <a:pt x="168275" y="282575"/>
                </a:lnTo>
                <a:lnTo>
                  <a:pt x="127000" y="244475"/>
                </a:lnTo>
                <a:lnTo>
                  <a:pt x="76200" y="238125"/>
                </a:lnTo>
                <a:lnTo>
                  <a:pt x="85725" y="161925"/>
                </a:lnTo>
                <a:lnTo>
                  <a:pt x="127000" y="120650"/>
                </a:lnTo>
                <a:lnTo>
                  <a:pt x="158750" y="69850"/>
                </a:lnTo>
                <a:lnTo>
                  <a:pt x="180975" y="44450"/>
                </a:lnTo>
                <a:lnTo>
                  <a:pt x="228600" y="22225"/>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6" name="Freeform 251">
            <a:extLst>
              <a:ext uri="{FF2B5EF4-FFF2-40B4-BE49-F238E27FC236}">
                <a16:creationId xmlns:a16="http://schemas.microsoft.com/office/drawing/2014/main" id="{94440F16-3430-7A0F-C1B2-6B733BC76A12}"/>
              </a:ext>
            </a:extLst>
          </p:cNvPr>
          <p:cNvSpPr>
            <a:spLocks/>
          </p:cNvSpPr>
          <p:nvPr/>
        </p:nvSpPr>
        <p:spPr bwMode="auto">
          <a:xfrm>
            <a:off x="8975605" y="3555813"/>
            <a:ext cx="256738" cy="250255"/>
          </a:xfrm>
          <a:custGeom>
            <a:avLst/>
            <a:gdLst/>
            <a:ahLst/>
            <a:cxnLst>
              <a:cxn ang="0">
                <a:pos x="154" y="161"/>
              </a:cxn>
              <a:cxn ang="0">
                <a:pos x="180" y="145"/>
              </a:cxn>
              <a:cxn ang="0">
                <a:pos x="198" y="120"/>
              </a:cxn>
              <a:cxn ang="0">
                <a:pos x="184" y="90"/>
              </a:cxn>
              <a:cxn ang="0">
                <a:pos x="166" y="86"/>
              </a:cxn>
              <a:cxn ang="0">
                <a:pos x="168" y="76"/>
              </a:cxn>
              <a:cxn ang="0">
                <a:pos x="182" y="54"/>
              </a:cxn>
              <a:cxn ang="0">
                <a:pos x="168" y="44"/>
              </a:cxn>
              <a:cxn ang="0">
                <a:pos x="164" y="38"/>
              </a:cxn>
              <a:cxn ang="0">
                <a:pos x="156" y="38"/>
              </a:cxn>
              <a:cxn ang="0">
                <a:pos x="130" y="14"/>
              </a:cxn>
              <a:cxn ang="0">
                <a:pos x="98" y="10"/>
              </a:cxn>
              <a:cxn ang="0">
                <a:pos x="72" y="24"/>
              </a:cxn>
              <a:cxn ang="0">
                <a:pos x="54" y="18"/>
              </a:cxn>
              <a:cxn ang="0">
                <a:pos x="52" y="4"/>
              </a:cxn>
              <a:cxn ang="0">
                <a:pos x="50" y="0"/>
              </a:cxn>
              <a:cxn ang="0">
                <a:pos x="42" y="2"/>
              </a:cxn>
              <a:cxn ang="0">
                <a:pos x="0" y="18"/>
              </a:cxn>
              <a:cxn ang="0">
                <a:pos x="12" y="58"/>
              </a:cxn>
              <a:cxn ang="0">
                <a:pos x="24" y="52"/>
              </a:cxn>
              <a:cxn ang="0">
                <a:pos x="52" y="100"/>
              </a:cxn>
              <a:cxn ang="0">
                <a:pos x="72" y="108"/>
              </a:cxn>
              <a:cxn ang="0">
                <a:pos x="68" y="136"/>
              </a:cxn>
              <a:cxn ang="0">
                <a:pos x="98" y="138"/>
              </a:cxn>
              <a:cxn ang="0">
                <a:pos x="104" y="159"/>
              </a:cxn>
              <a:cxn ang="0">
                <a:pos x="126" y="179"/>
              </a:cxn>
              <a:cxn ang="0">
                <a:pos x="146" y="193"/>
              </a:cxn>
              <a:cxn ang="0">
                <a:pos x="152" y="193"/>
              </a:cxn>
              <a:cxn ang="0">
                <a:pos x="158" y="177"/>
              </a:cxn>
              <a:cxn ang="0">
                <a:pos x="154" y="161"/>
              </a:cxn>
            </a:cxnLst>
            <a:rect l="0" t="0" r="r" b="b"/>
            <a:pathLst>
              <a:path w="198" h="193">
                <a:moveTo>
                  <a:pt x="154" y="161"/>
                </a:moveTo>
                <a:lnTo>
                  <a:pt x="180" y="145"/>
                </a:lnTo>
                <a:lnTo>
                  <a:pt x="198" y="120"/>
                </a:lnTo>
                <a:lnTo>
                  <a:pt x="184" y="90"/>
                </a:lnTo>
                <a:lnTo>
                  <a:pt x="166" y="86"/>
                </a:lnTo>
                <a:lnTo>
                  <a:pt x="168" y="76"/>
                </a:lnTo>
                <a:lnTo>
                  <a:pt x="182" y="54"/>
                </a:lnTo>
                <a:lnTo>
                  <a:pt x="168" y="44"/>
                </a:lnTo>
                <a:lnTo>
                  <a:pt x="164" y="38"/>
                </a:lnTo>
                <a:lnTo>
                  <a:pt x="156" y="38"/>
                </a:lnTo>
                <a:lnTo>
                  <a:pt x="130" y="14"/>
                </a:lnTo>
                <a:lnTo>
                  <a:pt x="98" y="10"/>
                </a:lnTo>
                <a:lnTo>
                  <a:pt x="72" y="24"/>
                </a:lnTo>
                <a:lnTo>
                  <a:pt x="54" y="18"/>
                </a:lnTo>
                <a:lnTo>
                  <a:pt x="52" y="4"/>
                </a:lnTo>
                <a:lnTo>
                  <a:pt x="50" y="0"/>
                </a:lnTo>
                <a:lnTo>
                  <a:pt x="42" y="2"/>
                </a:lnTo>
                <a:lnTo>
                  <a:pt x="0" y="18"/>
                </a:lnTo>
                <a:lnTo>
                  <a:pt x="12" y="58"/>
                </a:lnTo>
                <a:lnTo>
                  <a:pt x="24" y="52"/>
                </a:lnTo>
                <a:lnTo>
                  <a:pt x="52" y="100"/>
                </a:lnTo>
                <a:lnTo>
                  <a:pt x="72" y="108"/>
                </a:lnTo>
                <a:lnTo>
                  <a:pt x="68" y="136"/>
                </a:lnTo>
                <a:lnTo>
                  <a:pt x="98" y="138"/>
                </a:lnTo>
                <a:lnTo>
                  <a:pt x="104" y="159"/>
                </a:lnTo>
                <a:lnTo>
                  <a:pt x="126" y="179"/>
                </a:lnTo>
                <a:lnTo>
                  <a:pt x="146" y="193"/>
                </a:lnTo>
                <a:lnTo>
                  <a:pt x="152" y="193"/>
                </a:lnTo>
                <a:lnTo>
                  <a:pt x="158" y="177"/>
                </a:lnTo>
                <a:lnTo>
                  <a:pt x="154" y="161"/>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7" name="Freeform 252">
            <a:extLst>
              <a:ext uri="{FF2B5EF4-FFF2-40B4-BE49-F238E27FC236}">
                <a16:creationId xmlns:a16="http://schemas.microsoft.com/office/drawing/2014/main" id="{59193793-A738-5E2C-D577-0D577483CD13}"/>
              </a:ext>
            </a:extLst>
          </p:cNvPr>
          <p:cNvSpPr>
            <a:spLocks/>
          </p:cNvSpPr>
          <p:nvPr/>
        </p:nvSpPr>
        <p:spPr bwMode="auto">
          <a:xfrm>
            <a:off x="9172698" y="3743829"/>
            <a:ext cx="54460" cy="80394"/>
          </a:xfrm>
          <a:custGeom>
            <a:avLst/>
            <a:gdLst/>
            <a:ahLst/>
            <a:cxnLst>
              <a:cxn ang="0">
                <a:pos x="28" y="0"/>
              </a:cxn>
              <a:cxn ang="0">
                <a:pos x="2" y="16"/>
              </a:cxn>
              <a:cxn ang="0">
                <a:pos x="6" y="32"/>
              </a:cxn>
              <a:cxn ang="0">
                <a:pos x="0" y="48"/>
              </a:cxn>
              <a:cxn ang="0">
                <a:pos x="30" y="62"/>
              </a:cxn>
              <a:cxn ang="0">
                <a:pos x="42" y="42"/>
              </a:cxn>
              <a:cxn ang="0">
                <a:pos x="28" y="0"/>
              </a:cxn>
            </a:cxnLst>
            <a:rect l="0" t="0" r="r" b="b"/>
            <a:pathLst>
              <a:path w="42" h="62">
                <a:moveTo>
                  <a:pt x="28" y="0"/>
                </a:moveTo>
                <a:lnTo>
                  <a:pt x="2" y="16"/>
                </a:lnTo>
                <a:lnTo>
                  <a:pt x="6" y="32"/>
                </a:lnTo>
                <a:lnTo>
                  <a:pt x="0" y="48"/>
                </a:lnTo>
                <a:lnTo>
                  <a:pt x="30" y="62"/>
                </a:lnTo>
                <a:lnTo>
                  <a:pt x="42" y="42"/>
                </a:lnTo>
                <a:lnTo>
                  <a:pt x="28" y="0"/>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8" name="Freeform 255">
            <a:extLst>
              <a:ext uri="{FF2B5EF4-FFF2-40B4-BE49-F238E27FC236}">
                <a16:creationId xmlns:a16="http://schemas.microsoft.com/office/drawing/2014/main" id="{48D328B0-F1FA-92AF-7499-EFE853209C1E}"/>
              </a:ext>
            </a:extLst>
          </p:cNvPr>
          <p:cNvSpPr>
            <a:spLocks/>
          </p:cNvSpPr>
          <p:nvPr/>
        </p:nvSpPr>
        <p:spPr bwMode="auto">
          <a:xfrm>
            <a:off x="10203542" y="3249802"/>
            <a:ext cx="212653" cy="111513"/>
          </a:xfrm>
          <a:custGeom>
            <a:avLst/>
            <a:gdLst/>
            <a:ahLst/>
            <a:cxnLst>
              <a:cxn ang="0">
                <a:pos x="88" y="86"/>
              </a:cxn>
              <a:cxn ang="0">
                <a:pos x="130" y="84"/>
              </a:cxn>
              <a:cxn ang="0">
                <a:pos x="164" y="80"/>
              </a:cxn>
              <a:cxn ang="0">
                <a:pos x="160" y="72"/>
              </a:cxn>
              <a:cxn ang="0">
                <a:pos x="162" y="52"/>
              </a:cxn>
              <a:cxn ang="0">
                <a:pos x="154" y="24"/>
              </a:cxn>
              <a:cxn ang="0">
                <a:pos x="152" y="18"/>
              </a:cxn>
              <a:cxn ang="0">
                <a:pos x="122" y="20"/>
              </a:cxn>
              <a:cxn ang="0">
                <a:pos x="90" y="0"/>
              </a:cxn>
              <a:cxn ang="0">
                <a:pos x="68" y="2"/>
              </a:cxn>
              <a:cxn ang="0">
                <a:pos x="42" y="30"/>
              </a:cxn>
              <a:cxn ang="0">
                <a:pos x="26" y="32"/>
              </a:cxn>
              <a:cxn ang="0">
                <a:pos x="18" y="32"/>
              </a:cxn>
              <a:cxn ang="0">
                <a:pos x="18" y="44"/>
              </a:cxn>
              <a:cxn ang="0">
                <a:pos x="0" y="74"/>
              </a:cxn>
              <a:cxn ang="0">
                <a:pos x="10" y="76"/>
              </a:cxn>
              <a:cxn ang="0">
                <a:pos x="88" y="86"/>
              </a:cxn>
            </a:cxnLst>
            <a:rect l="0" t="0" r="r" b="b"/>
            <a:pathLst>
              <a:path w="164" h="86">
                <a:moveTo>
                  <a:pt x="88" y="86"/>
                </a:moveTo>
                <a:lnTo>
                  <a:pt x="130" y="84"/>
                </a:lnTo>
                <a:lnTo>
                  <a:pt x="164" y="80"/>
                </a:lnTo>
                <a:lnTo>
                  <a:pt x="160" y="72"/>
                </a:lnTo>
                <a:lnTo>
                  <a:pt x="162" y="52"/>
                </a:lnTo>
                <a:lnTo>
                  <a:pt x="154" y="24"/>
                </a:lnTo>
                <a:lnTo>
                  <a:pt x="152" y="18"/>
                </a:lnTo>
                <a:lnTo>
                  <a:pt x="122" y="20"/>
                </a:lnTo>
                <a:lnTo>
                  <a:pt x="90" y="0"/>
                </a:lnTo>
                <a:lnTo>
                  <a:pt x="68" y="2"/>
                </a:lnTo>
                <a:lnTo>
                  <a:pt x="42" y="30"/>
                </a:lnTo>
                <a:lnTo>
                  <a:pt x="26" y="32"/>
                </a:lnTo>
                <a:lnTo>
                  <a:pt x="18" y="32"/>
                </a:lnTo>
                <a:lnTo>
                  <a:pt x="18" y="44"/>
                </a:lnTo>
                <a:lnTo>
                  <a:pt x="0" y="74"/>
                </a:lnTo>
                <a:lnTo>
                  <a:pt x="10" y="76"/>
                </a:lnTo>
                <a:lnTo>
                  <a:pt x="88" y="8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59" name="Freeform 200">
            <a:extLst>
              <a:ext uri="{FF2B5EF4-FFF2-40B4-BE49-F238E27FC236}">
                <a16:creationId xmlns:a16="http://schemas.microsoft.com/office/drawing/2014/main" id="{DB1F33A0-DC22-4D35-73BC-2D1D830CD9E6}"/>
              </a:ext>
            </a:extLst>
          </p:cNvPr>
          <p:cNvSpPr>
            <a:spLocks/>
          </p:cNvSpPr>
          <p:nvPr/>
        </p:nvSpPr>
        <p:spPr bwMode="auto">
          <a:xfrm>
            <a:off x="10395448" y="3493572"/>
            <a:ext cx="1353714" cy="903771"/>
          </a:xfrm>
          <a:custGeom>
            <a:avLst/>
            <a:gdLst/>
            <a:ahLst/>
            <a:cxnLst>
              <a:cxn ang="0">
                <a:pos x="464" y="66"/>
              </a:cxn>
              <a:cxn ang="0">
                <a:pos x="424" y="112"/>
              </a:cxn>
              <a:cxn ang="0">
                <a:pos x="212" y="100"/>
              </a:cxn>
              <a:cxn ang="0">
                <a:pos x="110" y="108"/>
              </a:cxn>
              <a:cxn ang="0">
                <a:pos x="104" y="219"/>
              </a:cxn>
              <a:cxn ang="0">
                <a:pos x="60" y="269"/>
              </a:cxn>
              <a:cxn ang="0">
                <a:pos x="0" y="421"/>
              </a:cxn>
              <a:cxn ang="0">
                <a:pos x="28" y="447"/>
              </a:cxn>
              <a:cxn ang="0">
                <a:pos x="84" y="453"/>
              </a:cxn>
              <a:cxn ang="0">
                <a:pos x="224" y="449"/>
              </a:cxn>
              <a:cxn ang="0">
                <a:pos x="264" y="419"/>
              </a:cxn>
              <a:cxn ang="0">
                <a:pos x="308" y="401"/>
              </a:cxn>
              <a:cxn ang="0">
                <a:pos x="364" y="409"/>
              </a:cxn>
              <a:cxn ang="0">
                <a:pos x="416" y="425"/>
              </a:cxn>
              <a:cxn ang="0">
                <a:pos x="424" y="471"/>
              </a:cxn>
              <a:cxn ang="0">
                <a:pos x="478" y="547"/>
              </a:cxn>
              <a:cxn ang="0">
                <a:pos x="440" y="551"/>
              </a:cxn>
              <a:cxn ang="0">
                <a:pos x="428" y="599"/>
              </a:cxn>
              <a:cxn ang="0">
                <a:pos x="386" y="657"/>
              </a:cxn>
              <a:cxn ang="0">
                <a:pos x="480" y="665"/>
              </a:cxn>
              <a:cxn ang="0">
                <a:pos x="470" y="629"/>
              </a:cxn>
              <a:cxn ang="0">
                <a:pos x="520" y="585"/>
              </a:cxn>
              <a:cxn ang="0">
                <a:pos x="582" y="533"/>
              </a:cxn>
              <a:cxn ang="0">
                <a:pos x="676" y="553"/>
              </a:cxn>
              <a:cxn ang="0">
                <a:pos x="698" y="581"/>
              </a:cxn>
              <a:cxn ang="0">
                <a:pos x="678" y="623"/>
              </a:cxn>
              <a:cxn ang="0">
                <a:pos x="730" y="681"/>
              </a:cxn>
              <a:cxn ang="0">
                <a:pos x="794" y="655"/>
              </a:cxn>
              <a:cxn ang="0">
                <a:pos x="870" y="615"/>
              </a:cxn>
              <a:cxn ang="0">
                <a:pos x="902" y="573"/>
              </a:cxn>
              <a:cxn ang="0">
                <a:pos x="856" y="589"/>
              </a:cxn>
              <a:cxn ang="0">
                <a:pos x="786" y="539"/>
              </a:cxn>
              <a:cxn ang="0">
                <a:pos x="806" y="503"/>
              </a:cxn>
              <a:cxn ang="0">
                <a:pos x="968" y="401"/>
              </a:cxn>
              <a:cxn ang="0">
                <a:pos x="988" y="329"/>
              </a:cxn>
              <a:cxn ang="0">
                <a:pos x="1040" y="297"/>
              </a:cxn>
              <a:cxn ang="0">
                <a:pos x="1020" y="249"/>
              </a:cxn>
              <a:cxn ang="0">
                <a:pos x="1010" y="211"/>
              </a:cxn>
              <a:cxn ang="0">
                <a:pos x="1030" y="178"/>
              </a:cxn>
              <a:cxn ang="0">
                <a:pos x="894" y="156"/>
              </a:cxn>
              <a:cxn ang="0">
                <a:pos x="852" y="124"/>
              </a:cxn>
              <a:cxn ang="0">
                <a:pos x="796" y="150"/>
              </a:cxn>
              <a:cxn ang="0">
                <a:pos x="730" y="106"/>
              </a:cxn>
              <a:cxn ang="0">
                <a:pos x="646" y="58"/>
              </a:cxn>
              <a:cxn ang="0">
                <a:pos x="598" y="4"/>
              </a:cxn>
              <a:cxn ang="0">
                <a:pos x="528" y="48"/>
              </a:cxn>
            </a:cxnLst>
            <a:rect l="0" t="0" r="r" b="b"/>
            <a:pathLst>
              <a:path w="1044" h="697">
                <a:moveTo>
                  <a:pt x="514" y="42"/>
                </a:moveTo>
                <a:lnTo>
                  <a:pt x="468" y="52"/>
                </a:lnTo>
                <a:lnTo>
                  <a:pt x="464" y="66"/>
                </a:lnTo>
                <a:lnTo>
                  <a:pt x="460" y="126"/>
                </a:lnTo>
                <a:lnTo>
                  <a:pt x="458" y="128"/>
                </a:lnTo>
                <a:lnTo>
                  <a:pt x="424" y="112"/>
                </a:lnTo>
                <a:lnTo>
                  <a:pt x="348" y="114"/>
                </a:lnTo>
                <a:lnTo>
                  <a:pt x="290" y="120"/>
                </a:lnTo>
                <a:lnTo>
                  <a:pt x="212" y="100"/>
                </a:lnTo>
                <a:lnTo>
                  <a:pt x="178" y="98"/>
                </a:lnTo>
                <a:lnTo>
                  <a:pt x="146" y="104"/>
                </a:lnTo>
                <a:lnTo>
                  <a:pt x="110" y="108"/>
                </a:lnTo>
                <a:lnTo>
                  <a:pt x="84" y="126"/>
                </a:lnTo>
                <a:lnTo>
                  <a:pt x="72" y="146"/>
                </a:lnTo>
                <a:lnTo>
                  <a:pt x="104" y="219"/>
                </a:lnTo>
                <a:lnTo>
                  <a:pt x="100" y="239"/>
                </a:lnTo>
                <a:lnTo>
                  <a:pt x="88" y="241"/>
                </a:lnTo>
                <a:lnTo>
                  <a:pt x="60" y="269"/>
                </a:lnTo>
                <a:lnTo>
                  <a:pt x="34" y="307"/>
                </a:lnTo>
                <a:lnTo>
                  <a:pt x="22" y="361"/>
                </a:lnTo>
                <a:lnTo>
                  <a:pt x="0" y="421"/>
                </a:lnTo>
                <a:lnTo>
                  <a:pt x="0" y="421"/>
                </a:lnTo>
                <a:lnTo>
                  <a:pt x="6" y="425"/>
                </a:lnTo>
                <a:lnTo>
                  <a:pt x="28" y="447"/>
                </a:lnTo>
                <a:lnTo>
                  <a:pt x="42" y="449"/>
                </a:lnTo>
                <a:lnTo>
                  <a:pt x="46" y="461"/>
                </a:lnTo>
                <a:lnTo>
                  <a:pt x="84" y="453"/>
                </a:lnTo>
                <a:lnTo>
                  <a:pt x="122" y="459"/>
                </a:lnTo>
                <a:lnTo>
                  <a:pt x="188" y="457"/>
                </a:lnTo>
                <a:lnTo>
                  <a:pt x="224" y="449"/>
                </a:lnTo>
                <a:lnTo>
                  <a:pt x="238" y="445"/>
                </a:lnTo>
                <a:lnTo>
                  <a:pt x="248" y="427"/>
                </a:lnTo>
                <a:lnTo>
                  <a:pt x="264" y="419"/>
                </a:lnTo>
                <a:lnTo>
                  <a:pt x="266" y="419"/>
                </a:lnTo>
                <a:lnTo>
                  <a:pt x="280" y="405"/>
                </a:lnTo>
                <a:lnTo>
                  <a:pt x="308" y="401"/>
                </a:lnTo>
                <a:lnTo>
                  <a:pt x="316" y="395"/>
                </a:lnTo>
                <a:lnTo>
                  <a:pt x="342" y="399"/>
                </a:lnTo>
                <a:lnTo>
                  <a:pt x="364" y="409"/>
                </a:lnTo>
                <a:lnTo>
                  <a:pt x="378" y="419"/>
                </a:lnTo>
                <a:lnTo>
                  <a:pt x="402" y="427"/>
                </a:lnTo>
                <a:lnTo>
                  <a:pt x="416" y="425"/>
                </a:lnTo>
                <a:lnTo>
                  <a:pt x="424" y="437"/>
                </a:lnTo>
                <a:lnTo>
                  <a:pt x="424" y="469"/>
                </a:lnTo>
                <a:lnTo>
                  <a:pt x="424" y="471"/>
                </a:lnTo>
                <a:lnTo>
                  <a:pt x="452" y="507"/>
                </a:lnTo>
                <a:lnTo>
                  <a:pt x="480" y="527"/>
                </a:lnTo>
                <a:lnTo>
                  <a:pt x="478" y="547"/>
                </a:lnTo>
                <a:lnTo>
                  <a:pt x="496" y="557"/>
                </a:lnTo>
                <a:lnTo>
                  <a:pt x="486" y="561"/>
                </a:lnTo>
                <a:lnTo>
                  <a:pt x="440" y="551"/>
                </a:lnTo>
                <a:lnTo>
                  <a:pt x="426" y="559"/>
                </a:lnTo>
                <a:lnTo>
                  <a:pt x="426" y="575"/>
                </a:lnTo>
                <a:lnTo>
                  <a:pt x="428" y="599"/>
                </a:lnTo>
                <a:lnTo>
                  <a:pt x="418" y="619"/>
                </a:lnTo>
                <a:lnTo>
                  <a:pt x="386" y="657"/>
                </a:lnTo>
                <a:lnTo>
                  <a:pt x="386" y="657"/>
                </a:lnTo>
                <a:lnTo>
                  <a:pt x="422" y="673"/>
                </a:lnTo>
                <a:lnTo>
                  <a:pt x="458" y="649"/>
                </a:lnTo>
                <a:lnTo>
                  <a:pt x="480" y="665"/>
                </a:lnTo>
                <a:lnTo>
                  <a:pt x="482" y="643"/>
                </a:lnTo>
                <a:lnTo>
                  <a:pt x="474" y="645"/>
                </a:lnTo>
                <a:lnTo>
                  <a:pt x="470" y="629"/>
                </a:lnTo>
                <a:lnTo>
                  <a:pt x="482" y="609"/>
                </a:lnTo>
                <a:lnTo>
                  <a:pt x="502" y="609"/>
                </a:lnTo>
                <a:lnTo>
                  <a:pt x="520" y="585"/>
                </a:lnTo>
                <a:lnTo>
                  <a:pt x="534" y="547"/>
                </a:lnTo>
                <a:lnTo>
                  <a:pt x="556" y="529"/>
                </a:lnTo>
                <a:lnTo>
                  <a:pt x="582" y="533"/>
                </a:lnTo>
                <a:lnTo>
                  <a:pt x="606" y="545"/>
                </a:lnTo>
                <a:lnTo>
                  <a:pt x="646" y="563"/>
                </a:lnTo>
                <a:lnTo>
                  <a:pt x="676" y="553"/>
                </a:lnTo>
                <a:lnTo>
                  <a:pt x="714" y="549"/>
                </a:lnTo>
                <a:lnTo>
                  <a:pt x="718" y="567"/>
                </a:lnTo>
                <a:lnTo>
                  <a:pt x="698" y="581"/>
                </a:lnTo>
                <a:lnTo>
                  <a:pt x="668" y="603"/>
                </a:lnTo>
                <a:lnTo>
                  <a:pt x="658" y="629"/>
                </a:lnTo>
                <a:lnTo>
                  <a:pt x="678" y="623"/>
                </a:lnTo>
                <a:lnTo>
                  <a:pt x="714" y="633"/>
                </a:lnTo>
                <a:lnTo>
                  <a:pt x="730" y="659"/>
                </a:lnTo>
                <a:lnTo>
                  <a:pt x="730" y="681"/>
                </a:lnTo>
                <a:lnTo>
                  <a:pt x="720" y="685"/>
                </a:lnTo>
                <a:lnTo>
                  <a:pt x="746" y="697"/>
                </a:lnTo>
                <a:lnTo>
                  <a:pt x="794" y="655"/>
                </a:lnTo>
                <a:lnTo>
                  <a:pt x="830" y="625"/>
                </a:lnTo>
                <a:lnTo>
                  <a:pt x="856" y="611"/>
                </a:lnTo>
                <a:lnTo>
                  <a:pt x="870" y="615"/>
                </a:lnTo>
                <a:lnTo>
                  <a:pt x="892" y="611"/>
                </a:lnTo>
                <a:lnTo>
                  <a:pt x="904" y="601"/>
                </a:lnTo>
                <a:lnTo>
                  <a:pt x="902" y="573"/>
                </a:lnTo>
                <a:lnTo>
                  <a:pt x="884" y="571"/>
                </a:lnTo>
                <a:lnTo>
                  <a:pt x="872" y="579"/>
                </a:lnTo>
                <a:lnTo>
                  <a:pt x="856" y="589"/>
                </a:lnTo>
                <a:lnTo>
                  <a:pt x="840" y="597"/>
                </a:lnTo>
                <a:lnTo>
                  <a:pt x="808" y="573"/>
                </a:lnTo>
                <a:lnTo>
                  <a:pt x="786" y="539"/>
                </a:lnTo>
                <a:lnTo>
                  <a:pt x="786" y="521"/>
                </a:lnTo>
                <a:lnTo>
                  <a:pt x="800" y="497"/>
                </a:lnTo>
                <a:lnTo>
                  <a:pt x="806" y="503"/>
                </a:lnTo>
                <a:lnTo>
                  <a:pt x="886" y="451"/>
                </a:lnTo>
                <a:lnTo>
                  <a:pt x="926" y="417"/>
                </a:lnTo>
                <a:lnTo>
                  <a:pt x="968" y="401"/>
                </a:lnTo>
                <a:lnTo>
                  <a:pt x="966" y="375"/>
                </a:lnTo>
                <a:lnTo>
                  <a:pt x="972" y="349"/>
                </a:lnTo>
                <a:lnTo>
                  <a:pt x="988" y="329"/>
                </a:lnTo>
                <a:lnTo>
                  <a:pt x="1012" y="317"/>
                </a:lnTo>
                <a:lnTo>
                  <a:pt x="1040" y="313"/>
                </a:lnTo>
                <a:lnTo>
                  <a:pt x="1040" y="297"/>
                </a:lnTo>
                <a:lnTo>
                  <a:pt x="1044" y="277"/>
                </a:lnTo>
                <a:lnTo>
                  <a:pt x="1038" y="263"/>
                </a:lnTo>
                <a:lnTo>
                  <a:pt x="1020" y="249"/>
                </a:lnTo>
                <a:lnTo>
                  <a:pt x="1018" y="235"/>
                </a:lnTo>
                <a:lnTo>
                  <a:pt x="1020" y="233"/>
                </a:lnTo>
                <a:lnTo>
                  <a:pt x="1010" y="211"/>
                </a:lnTo>
                <a:lnTo>
                  <a:pt x="1008" y="209"/>
                </a:lnTo>
                <a:lnTo>
                  <a:pt x="1024" y="195"/>
                </a:lnTo>
                <a:lnTo>
                  <a:pt x="1030" y="178"/>
                </a:lnTo>
                <a:lnTo>
                  <a:pt x="1012" y="158"/>
                </a:lnTo>
                <a:lnTo>
                  <a:pt x="936" y="150"/>
                </a:lnTo>
                <a:lnTo>
                  <a:pt x="894" y="156"/>
                </a:lnTo>
                <a:lnTo>
                  <a:pt x="890" y="154"/>
                </a:lnTo>
                <a:lnTo>
                  <a:pt x="870" y="144"/>
                </a:lnTo>
                <a:lnTo>
                  <a:pt x="852" y="124"/>
                </a:lnTo>
                <a:lnTo>
                  <a:pt x="842" y="132"/>
                </a:lnTo>
                <a:lnTo>
                  <a:pt x="828" y="136"/>
                </a:lnTo>
                <a:lnTo>
                  <a:pt x="796" y="150"/>
                </a:lnTo>
                <a:lnTo>
                  <a:pt x="750" y="146"/>
                </a:lnTo>
                <a:lnTo>
                  <a:pt x="738" y="130"/>
                </a:lnTo>
                <a:lnTo>
                  <a:pt x="730" y="106"/>
                </a:lnTo>
                <a:lnTo>
                  <a:pt x="706" y="86"/>
                </a:lnTo>
                <a:lnTo>
                  <a:pt x="662" y="82"/>
                </a:lnTo>
                <a:lnTo>
                  <a:pt x="646" y="58"/>
                </a:lnTo>
                <a:lnTo>
                  <a:pt x="632" y="10"/>
                </a:lnTo>
                <a:lnTo>
                  <a:pt x="618" y="0"/>
                </a:lnTo>
                <a:lnTo>
                  <a:pt x="598" y="4"/>
                </a:lnTo>
                <a:lnTo>
                  <a:pt x="566" y="18"/>
                </a:lnTo>
                <a:lnTo>
                  <a:pt x="542" y="38"/>
                </a:lnTo>
                <a:lnTo>
                  <a:pt x="528" y="48"/>
                </a:lnTo>
                <a:lnTo>
                  <a:pt x="514" y="42"/>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0" name="Freeform 205">
            <a:extLst>
              <a:ext uri="{FF2B5EF4-FFF2-40B4-BE49-F238E27FC236}">
                <a16:creationId xmlns:a16="http://schemas.microsoft.com/office/drawing/2014/main" id="{21D9011A-17CB-C2C5-361D-9266FBEFEEFA}"/>
              </a:ext>
            </a:extLst>
          </p:cNvPr>
          <p:cNvSpPr>
            <a:spLocks/>
          </p:cNvSpPr>
          <p:nvPr/>
        </p:nvSpPr>
        <p:spPr bwMode="auto">
          <a:xfrm>
            <a:off x="9924760" y="4023908"/>
            <a:ext cx="530333" cy="321573"/>
          </a:xfrm>
          <a:custGeom>
            <a:avLst/>
            <a:gdLst/>
            <a:ahLst/>
            <a:cxnLst>
              <a:cxn ang="0">
                <a:pos x="405" y="40"/>
              </a:cxn>
              <a:cxn ang="0">
                <a:pos x="391" y="38"/>
              </a:cxn>
              <a:cxn ang="0">
                <a:pos x="369" y="16"/>
              </a:cxn>
              <a:cxn ang="0">
                <a:pos x="363" y="12"/>
              </a:cxn>
              <a:cxn ang="0">
                <a:pos x="363" y="12"/>
              </a:cxn>
              <a:cxn ang="0">
                <a:pos x="349" y="16"/>
              </a:cxn>
              <a:cxn ang="0">
                <a:pos x="341" y="20"/>
              </a:cxn>
              <a:cxn ang="0">
                <a:pos x="325" y="0"/>
              </a:cxn>
              <a:cxn ang="0">
                <a:pos x="301" y="4"/>
              </a:cxn>
              <a:cxn ang="0">
                <a:pos x="279" y="0"/>
              </a:cxn>
              <a:cxn ang="0">
                <a:pos x="259" y="18"/>
              </a:cxn>
              <a:cxn ang="0">
                <a:pos x="237" y="36"/>
              </a:cxn>
              <a:cxn ang="0">
                <a:pos x="225" y="36"/>
              </a:cxn>
              <a:cxn ang="0">
                <a:pos x="209" y="38"/>
              </a:cxn>
              <a:cxn ang="0">
                <a:pos x="175" y="44"/>
              </a:cxn>
              <a:cxn ang="0">
                <a:pos x="166" y="48"/>
              </a:cxn>
              <a:cxn ang="0">
                <a:pos x="162" y="66"/>
              </a:cxn>
              <a:cxn ang="0">
                <a:pos x="126" y="70"/>
              </a:cxn>
              <a:cxn ang="0">
                <a:pos x="104" y="70"/>
              </a:cxn>
              <a:cxn ang="0">
                <a:pos x="72" y="46"/>
              </a:cxn>
              <a:cxn ang="0">
                <a:pos x="66" y="46"/>
              </a:cxn>
              <a:cxn ang="0">
                <a:pos x="54" y="74"/>
              </a:cxn>
              <a:cxn ang="0">
                <a:pos x="34" y="92"/>
              </a:cxn>
              <a:cxn ang="0">
                <a:pos x="22" y="122"/>
              </a:cxn>
              <a:cxn ang="0">
                <a:pos x="20" y="134"/>
              </a:cxn>
              <a:cxn ang="0">
                <a:pos x="8" y="138"/>
              </a:cxn>
              <a:cxn ang="0">
                <a:pos x="4" y="138"/>
              </a:cxn>
              <a:cxn ang="0">
                <a:pos x="0" y="144"/>
              </a:cxn>
              <a:cxn ang="0">
                <a:pos x="28" y="182"/>
              </a:cxn>
              <a:cxn ang="0">
                <a:pos x="44" y="198"/>
              </a:cxn>
              <a:cxn ang="0">
                <a:pos x="48" y="202"/>
              </a:cxn>
              <a:cxn ang="0">
                <a:pos x="76" y="230"/>
              </a:cxn>
              <a:cxn ang="0">
                <a:pos x="128" y="248"/>
              </a:cxn>
              <a:cxn ang="0">
                <a:pos x="164" y="234"/>
              </a:cxn>
              <a:cxn ang="0">
                <a:pos x="175" y="230"/>
              </a:cxn>
              <a:cxn ang="0">
                <a:pos x="199" y="224"/>
              </a:cxn>
              <a:cxn ang="0">
                <a:pos x="209" y="212"/>
              </a:cxn>
              <a:cxn ang="0">
                <a:pos x="233" y="212"/>
              </a:cxn>
              <a:cxn ang="0">
                <a:pos x="251" y="218"/>
              </a:cxn>
              <a:cxn ang="0">
                <a:pos x="265" y="212"/>
              </a:cxn>
              <a:cxn ang="0">
                <a:pos x="279" y="214"/>
              </a:cxn>
              <a:cxn ang="0">
                <a:pos x="289" y="204"/>
              </a:cxn>
              <a:cxn ang="0">
                <a:pos x="311" y="190"/>
              </a:cxn>
              <a:cxn ang="0">
                <a:pos x="347" y="118"/>
              </a:cxn>
              <a:cxn ang="0">
                <a:pos x="375" y="70"/>
              </a:cxn>
              <a:cxn ang="0">
                <a:pos x="385" y="66"/>
              </a:cxn>
              <a:cxn ang="0">
                <a:pos x="391" y="68"/>
              </a:cxn>
              <a:cxn ang="0">
                <a:pos x="409" y="52"/>
              </a:cxn>
              <a:cxn ang="0">
                <a:pos x="405" y="40"/>
              </a:cxn>
            </a:cxnLst>
            <a:rect l="0" t="0" r="r" b="b"/>
            <a:pathLst>
              <a:path w="409" h="248">
                <a:moveTo>
                  <a:pt x="405" y="40"/>
                </a:moveTo>
                <a:lnTo>
                  <a:pt x="391" y="38"/>
                </a:lnTo>
                <a:lnTo>
                  <a:pt x="369" y="16"/>
                </a:lnTo>
                <a:lnTo>
                  <a:pt x="363" y="12"/>
                </a:lnTo>
                <a:lnTo>
                  <a:pt x="363" y="12"/>
                </a:lnTo>
                <a:lnTo>
                  <a:pt x="349" y="16"/>
                </a:lnTo>
                <a:lnTo>
                  <a:pt x="341" y="20"/>
                </a:lnTo>
                <a:lnTo>
                  <a:pt x="325" y="0"/>
                </a:lnTo>
                <a:lnTo>
                  <a:pt x="301" y="4"/>
                </a:lnTo>
                <a:lnTo>
                  <a:pt x="279" y="0"/>
                </a:lnTo>
                <a:lnTo>
                  <a:pt x="259" y="18"/>
                </a:lnTo>
                <a:lnTo>
                  <a:pt x="237" y="36"/>
                </a:lnTo>
                <a:lnTo>
                  <a:pt x="225" y="36"/>
                </a:lnTo>
                <a:lnTo>
                  <a:pt x="209" y="38"/>
                </a:lnTo>
                <a:lnTo>
                  <a:pt x="175" y="44"/>
                </a:lnTo>
                <a:lnTo>
                  <a:pt x="166" y="48"/>
                </a:lnTo>
                <a:lnTo>
                  <a:pt x="162" y="66"/>
                </a:lnTo>
                <a:lnTo>
                  <a:pt x="126" y="70"/>
                </a:lnTo>
                <a:lnTo>
                  <a:pt x="104" y="70"/>
                </a:lnTo>
                <a:lnTo>
                  <a:pt x="72" y="46"/>
                </a:lnTo>
                <a:lnTo>
                  <a:pt x="66" y="46"/>
                </a:lnTo>
                <a:lnTo>
                  <a:pt x="54" y="74"/>
                </a:lnTo>
                <a:lnTo>
                  <a:pt x="34" y="92"/>
                </a:lnTo>
                <a:lnTo>
                  <a:pt x="22" y="122"/>
                </a:lnTo>
                <a:lnTo>
                  <a:pt x="20" y="134"/>
                </a:lnTo>
                <a:lnTo>
                  <a:pt x="8" y="138"/>
                </a:lnTo>
                <a:lnTo>
                  <a:pt x="4" y="138"/>
                </a:lnTo>
                <a:lnTo>
                  <a:pt x="0" y="144"/>
                </a:lnTo>
                <a:lnTo>
                  <a:pt x="28" y="182"/>
                </a:lnTo>
                <a:lnTo>
                  <a:pt x="44" y="198"/>
                </a:lnTo>
                <a:lnTo>
                  <a:pt x="48" y="202"/>
                </a:lnTo>
                <a:lnTo>
                  <a:pt x="76" y="230"/>
                </a:lnTo>
                <a:lnTo>
                  <a:pt x="128" y="248"/>
                </a:lnTo>
                <a:lnTo>
                  <a:pt x="164" y="234"/>
                </a:lnTo>
                <a:lnTo>
                  <a:pt x="175" y="230"/>
                </a:lnTo>
                <a:lnTo>
                  <a:pt x="199" y="224"/>
                </a:lnTo>
                <a:lnTo>
                  <a:pt x="209" y="212"/>
                </a:lnTo>
                <a:lnTo>
                  <a:pt x="233" y="212"/>
                </a:lnTo>
                <a:lnTo>
                  <a:pt x="251" y="218"/>
                </a:lnTo>
                <a:lnTo>
                  <a:pt x="265" y="212"/>
                </a:lnTo>
                <a:lnTo>
                  <a:pt x="279" y="214"/>
                </a:lnTo>
                <a:lnTo>
                  <a:pt x="289" y="204"/>
                </a:lnTo>
                <a:lnTo>
                  <a:pt x="311" y="190"/>
                </a:lnTo>
                <a:lnTo>
                  <a:pt x="347" y="118"/>
                </a:lnTo>
                <a:lnTo>
                  <a:pt x="375" y="70"/>
                </a:lnTo>
                <a:lnTo>
                  <a:pt x="385" y="66"/>
                </a:lnTo>
                <a:lnTo>
                  <a:pt x="391" y="68"/>
                </a:lnTo>
                <a:lnTo>
                  <a:pt x="409" y="52"/>
                </a:lnTo>
                <a:lnTo>
                  <a:pt x="405" y="40"/>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1" name="Freeform 256">
            <a:extLst>
              <a:ext uri="{FF2B5EF4-FFF2-40B4-BE49-F238E27FC236}">
                <a16:creationId xmlns:a16="http://schemas.microsoft.com/office/drawing/2014/main" id="{9E0483C4-5C40-BBCF-B6F3-AC90C781366D}"/>
              </a:ext>
            </a:extLst>
          </p:cNvPr>
          <p:cNvSpPr>
            <a:spLocks/>
          </p:cNvSpPr>
          <p:nvPr/>
        </p:nvSpPr>
        <p:spPr bwMode="auto">
          <a:xfrm>
            <a:off x="9997373" y="3904615"/>
            <a:ext cx="426602" cy="210060"/>
          </a:xfrm>
          <a:custGeom>
            <a:avLst/>
            <a:gdLst/>
            <a:ahLst/>
            <a:cxnLst>
              <a:cxn ang="0">
                <a:pos x="297" y="34"/>
              </a:cxn>
              <a:cxn ang="0">
                <a:pos x="297" y="28"/>
              </a:cxn>
              <a:cxn ang="0">
                <a:pos x="255" y="12"/>
              </a:cxn>
              <a:cxn ang="0">
                <a:pos x="209" y="18"/>
              </a:cxn>
              <a:cxn ang="0">
                <a:pos x="179" y="34"/>
              </a:cxn>
              <a:cxn ang="0">
                <a:pos x="171" y="36"/>
              </a:cxn>
              <a:cxn ang="0">
                <a:pos x="147" y="0"/>
              </a:cxn>
              <a:cxn ang="0">
                <a:pos x="137" y="6"/>
              </a:cxn>
              <a:cxn ang="0">
                <a:pos x="133" y="16"/>
              </a:cxn>
              <a:cxn ang="0">
                <a:pos x="113" y="8"/>
              </a:cxn>
              <a:cxn ang="0">
                <a:pos x="86" y="22"/>
              </a:cxn>
              <a:cxn ang="0">
                <a:pos x="78" y="34"/>
              </a:cxn>
              <a:cxn ang="0">
                <a:pos x="66" y="46"/>
              </a:cxn>
              <a:cxn ang="0">
                <a:pos x="40" y="72"/>
              </a:cxn>
              <a:cxn ang="0">
                <a:pos x="14" y="64"/>
              </a:cxn>
              <a:cxn ang="0">
                <a:pos x="0" y="84"/>
              </a:cxn>
              <a:cxn ang="0">
                <a:pos x="0" y="124"/>
              </a:cxn>
              <a:cxn ang="0">
                <a:pos x="6" y="126"/>
              </a:cxn>
              <a:cxn ang="0">
                <a:pos x="10" y="138"/>
              </a:cxn>
              <a:cxn ang="0">
                <a:pos x="16" y="138"/>
              </a:cxn>
              <a:cxn ang="0">
                <a:pos x="48" y="162"/>
              </a:cxn>
              <a:cxn ang="0">
                <a:pos x="70" y="162"/>
              </a:cxn>
              <a:cxn ang="0">
                <a:pos x="106" y="158"/>
              </a:cxn>
              <a:cxn ang="0">
                <a:pos x="110" y="140"/>
              </a:cxn>
              <a:cxn ang="0">
                <a:pos x="119" y="136"/>
              </a:cxn>
              <a:cxn ang="0">
                <a:pos x="153" y="130"/>
              </a:cxn>
              <a:cxn ang="0">
                <a:pos x="169" y="128"/>
              </a:cxn>
              <a:cxn ang="0">
                <a:pos x="181" y="128"/>
              </a:cxn>
              <a:cxn ang="0">
                <a:pos x="203" y="110"/>
              </a:cxn>
              <a:cxn ang="0">
                <a:pos x="223" y="92"/>
              </a:cxn>
              <a:cxn ang="0">
                <a:pos x="245" y="96"/>
              </a:cxn>
              <a:cxn ang="0">
                <a:pos x="269" y="92"/>
              </a:cxn>
              <a:cxn ang="0">
                <a:pos x="285" y="112"/>
              </a:cxn>
              <a:cxn ang="0">
                <a:pos x="293" y="108"/>
              </a:cxn>
              <a:cxn ang="0">
                <a:pos x="307" y="104"/>
              </a:cxn>
              <a:cxn ang="0">
                <a:pos x="329" y="44"/>
              </a:cxn>
              <a:cxn ang="0">
                <a:pos x="307" y="36"/>
              </a:cxn>
              <a:cxn ang="0">
                <a:pos x="297" y="34"/>
              </a:cxn>
            </a:cxnLst>
            <a:rect l="0" t="0" r="r" b="b"/>
            <a:pathLst>
              <a:path w="329" h="162">
                <a:moveTo>
                  <a:pt x="297" y="34"/>
                </a:moveTo>
                <a:lnTo>
                  <a:pt x="297" y="28"/>
                </a:lnTo>
                <a:lnTo>
                  <a:pt x="255" y="12"/>
                </a:lnTo>
                <a:lnTo>
                  <a:pt x="209" y="18"/>
                </a:lnTo>
                <a:lnTo>
                  <a:pt x="179" y="34"/>
                </a:lnTo>
                <a:lnTo>
                  <a:pt x="171" y="36"/>
                </a:lnTo>
                <a:lnTo>
                  <a:pt x="147" y="0"/>
                </a:lnTo>
                <a:lnTo>
                  <a:pt x="137" y="6"/>
                </a:lnTo>
                <a:lnTo>
                  <a:pt x="133" y="16"/>
                </a:lnTo>
                <a:lnTo>
                  <a:pt x="113" y="8"/>
                </a:lnTo>
                <a:lnTo>
                  <a:pt x="86" y="22"/>
                </a:lnTo>
                <a:lnTo>
                  <a:pt x="78" y="34"/>
                </a:lnTo>
                <a:lnTo>
                  <a:pt x="66" y="46"/>
                </a:lnTo>
                <a:lnTo>
                  <a:pt x="40" y="72"/>
                </a:lnTo>
                <a:lnTo>
                  <a:pt x="14" y="64"/>
                </a:lnTo>
                <a:lnTo>
                  <a:pt x="0" y="84"/>
                </a:lnTo>
                <a:lnTo>
                  <a:pt x="0" y="124"/>
                </a:lnTo>
                <a:lnTo>
                  <a:pt x="6" y="126"/>
                </a:lnTo>
                <a:lnTo>
                  <a:pt x="10" y="138"/>
                </a:lnTo>
                <a:lnTo>
                  <a:pt x="16" y="138"/>
                </a:lnTo>
                <a:lnTo>
                  <a:pt x="48" y="162"/>
                </a:lnTo>
                <a:lnTo>
                  <a:pt x="70" y="162"/>
                </a:lnTo>
                <a:lnTo>
                  <a:pt x="106" y="158"/>
                </a:lnTo>
                <a:lnTo>
                  <a:pt x="110" y="140"/>
                </a:lnTo>
                <a:lnTo>
                  <a:pt x="119" y="136"/>
                </a:lnTo>
                <a:lnTo>
                  <a:pt x="153" y="130"/>
                </a:lnTo>
                <a:lnTo>
                  <a:pt x="169" y="128"/>
                </a:lnTo>
                <a:lnTo>
                  <a:pt x="181" y="128"/>
                </a:lnTo>
                <a:lnTo>
                  <a:pt x="203" y="110"/>
                </a:lnTo>
                <a:lnTo>
                  <a:pt x="223" y="92"/>
                </a:lnTo>
                <a:lnTo>
                  <a:pt x="245" y="96"/>
                </a:lnTo>
                <a:lnTo>
                  <a:pt x="269" y="92"/>
                </a:lnTo>
                <a:lnTo>
                  <a:pt x="285" y="112"/>
                </a:lnTo>
                <a:lnTo>
                  <a:pt x="293" y="108"/>
                </a:lnTo>
                <a:lnTo>
                  <a:pt x="307" y="104"/>
                </a:lnTo>
                <a:lnTo>
                  <a:pt x="329" y="44"/>
                </a:lnTo>
                <a:lnTo>
                  <a:pt x="307" y="36"/>
                </a:lnTo>
                <a:lnTo>
                  <a:pt x="297" y="34"/>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2" name="Freeform 258">
            <a:extLst>
              <a:ext uri="{FF2B5EF4-FFF2-40B4-BE49-F238E27FC236}">
                <a16:creationId xmlns:a16="http://schemas.microsoft.com/office/drawing/2014/main" id="{9644D082-EAD9-E06F-9F03-3B23C7DD254E}"/>
              </a:ext>
            </a:extLst>
          </p:cNvPr>
          <p:cNvSpPr>
            <a:spLocks/>
          </p:cNvSpPr>
          <p:nvPr/>
        </p:nvSpPr>
        <p:spPr bwMode="auto">
          <a:xfrm>
            <a:off x="10452501" y="3120135"/>
            <a:ext cx="650923" cy="562751"/>
          </a:xfrm>
          <a:custGeom>
            <a:avLst/>
            <a:gdLst/>
            <a:ahLst/>
            <a:cxnLst>
              <a:cxn ang="0">
                <a:pos x="456" y="302"/>
              </a:cxn>
              <a:cxn ang="0">
                <a:pos x="446" y="282"/>
              </a:cxn>
              <a:cxn ang="0">
                <a:pos x="436" y="262"/>
              </a:cxn>
              <a:cxn ang="0">
                <a:pos x="448" y="234"/>
              </a:cxn>
              <a:cxn ang="0">
                <a:pos x="472" y="242"/>
              </a:cxn>
              <a:cxn ang="0">
                <a:pos x="502" y="202"/>
              </a:cxn>
              <a:cxn ang="0">
                <a:pos x="444" y="182"/>
              </a:cxn>
              <a:cxn ang="0">
                <a:pos x="402" y="110"/>
              </a:cxn>
              <a:cxn ang="0">
                <a:pos x="386" y="84"/>
              </a:cxn>
              <a:cxn ang="0">
                <a:pos x="372" y="28"/>
              </a:cxn>
              <a:cxn ang="0">
                <a:pos x="296" y="28"/>
              </a:cxn>
              <a:cxn ang="0">
                <a:pos x="270" y="10"/>
              </a:cxn>
              <a:cxn ang="0">
                <a:pos x="246" y="4"/>
              </a:cxn>
              <a:cxn ang="0">
                <a:pos x="230" y="0"/>
              </a:cxn>
              <a:cxn ang="0">
                <a:pos x="208" y="36"/>
              </a:cxn>
              <a:cxn ang="0">
                <a:pos x="160" y="52"/>
              </a:cxn>
              <a:cxn ang="0">
                <a:pos x="124" y="126"/>
              </a:cxn>
              <a:cxn ang="0">
                <a:pos x="114" y="188"/>
              </a:cxn>
              <a:cxn ang="0">
                <a:pos x="64" y="212"/>
              </a:cxn>
              <a:cxn ang="0">
                <a:pos x="26" y="218"/>
              </a:cxn>
              <a:cxn ang="0">
                <a:pos x="24" y="256"/>
              </a:cxn>
              <a:cxn ang="0">
                <a:pos x="40" y="310"/>
              </a:cxn>
              <a:cxn ang="0">
                <a:pos x="24" y="334"/>
              </a:cxn>
              <a:cxn ang="0">
                <a:pos x="20" y="374"/>
              </a:cxn>
              <a:cxn ang="0">
                <a:pos x="24" y="414"/>
              </a:cxn>
              <a:cxn ang="0">
                <a:pos x="28" y="434"/>
              </a:cxn>
              <a:cxn ang="0">
                <a:pos x="66" y="396"/>
              </a:cxn>
              <a:cxn ang="0">
                <a:pos x="134" y="386"/>
              </a:cxn>
              <a:cxn ang="0">
                <a:pos x="246" y="408"/>
              </a:cxn>
              <a:cxn ang="0">
                <a:pos x="380" y="400"/>
              </a:cxn>
              <a:cxn ang="0">
                <a:pos x="416" y="414"/>
              </a:cxn>
              <a:cxn ang="0">
                <a:pos x="424" y="340"/>
              </a:cxn>
              <a:cxn ang="0">
                <a:pos x="458" y="316"/>
              </a:cxn>
            </a:cxnLst>
            <a:rect l="0" t="0" r="r" b="b"/>
            <a:pathLst>
              <a:path w="502" h="434">
                <a:moveTo>
                  <a:pt x="458" y="306"/>
                </a:moveTo>
                <a:lnTo>
                  <a:pt x="456" y="302"/>
                </a:lnTo>
                <a:lnTo>
                  <a:pt x="454" y="292"/>
                </a:lnTo>
                <a:lnTo>
                  <a:pt x="446" y="282"/>
                </a:lnTo>
                <a:lnTo>
                  <a:pt x="448" y="268"/>
                </a:lnTo>
                <a:lnTo>
                  <a:pt x="436" y="262"/>
                </a:lnTo>
                <a:lnTo>
                  <a:pt x="434" y="238"/>
                </a:lnTo>
                <a:lnTo>
                  <a:pt x="448" y="234"/>
                </a:lnTo>
                <a:lnTo>
                  <a:pt x="458" y="242"/>
                </a:lnTo>
                <a:lnTo>
                  <a:pt x="472" y="242"/>
                </a:lnTo>
                <a:lnTo>
                  <a:pt x="490" y="220"/>
                </a:lnTo>
                <a:lnTo>
                  <a:pt x="502" y="202"/>
                </a:lnTo>
                <a:lnTo>
                  <a:pt x="482" y="182"/>
                </a:lnTo>
                <a:lnTo>
                  <a:pt x="444" y="182"/>
                </a:lnTo>
                <a:lnTo>
                  <a:pt x="448" y="160"/>
                </a:lnTo>
                <a:lnTo>
                  <a:pt x="402" y="110"/>
                </a:lnTo>
                <a:lnTo>
                  <a:pt x="392" y="112"/>
                </a:lnTo>
                <a:lnTo>
                  <a:pt x="386" y="84"/>
                </a:lnTo>
                <a:lnTo>
                  <a:pt x="382" y="50"/>
                </a:lnTo>
                <a:lnTo>
                  <a:pt x="372" y="28"/>
                </a:lnTo>
                <a:lnTo>
                  <a:pt x="326" y="14"/>
                </a:lnTo>
                <a:lnTo>
                  <a:pt x="296" y="28"/>
                </a:lnTo>
                <a:lnTo>
                  <a:pt x="284" y="8"/>
                </a:lnTo>
                <a:lnTo>
                  <a:pt x="270" y="10"/>
                </a:lnTo>
                <a:lnTo>
                  <a:pt x="260" y="10"/>
                </a:lnTo>
                <a:lnTo>
                  <a:pt x="246" y="4"/>
                </a:lnTo>
                <a:lnTo>
                  <a:pt x="238" y="6"/>
                </a:lnTo>
                <a:lnTo>
                  <a:pt x="230" y="0"/>
                </a:lnTo>
                <a:lnTo>
                  <a:pt x="216" y="16"/>
                </a:lnTo>
                <a:lnTo>
                  <a:pt x="208" y="36"/>
                </a:lnTo>
                <a:lnTo>
                  <a:pt x="196" y="34"/>
                </a:lnTo>
                <a:lnTo>
                  <a:pt x="160" y="52"/>
                </a:lnTo>
                <a:lnTo>
                  <a:pt x="146" y="112"/>
                </a:lnTo>
                <a:lnTo>
                  <a:pt x="124" y="126"/>
                </a:lnTo>
                <a:lnTo>
                  <a:pt x="122" y="158"/>
                </a:lnTo>
                <a:lnTo>
                  <a:pt x="114" y="188"/>
                </a:lnTo>
                <a:lnTo>
                  <a:pt x="88" y="194"/>
                </a:lnTo>
                <a:lnTo>
                  <a:pt x="64" y="212"/>
                </a:lnTo>
                <a:lnTo>
                  <a:pt x="32" y="214"/>
                </a:lnTo>
                <a:lnTo>
                  <a:pt x="26" y="218"/>
                </a:lnTo>
                <a:lnTo>
                  <a:pt x="12" y="216"/>
                </a:lnTo>
                <a:lnTo>
                  <a:pt x="24" y="256"/>
                </a:lnTo>
                <a:lnTo>
                  <a:pt x="36" y="284"/>
                </a:lnTo>
                <a:lnTo>
                  <a:pt x="40" y="310"/>
                </a:lnTo>
                <a:lnTo>
                  <a:pt x="38" y="328"/>
                </a:lnTo>
                <a:lnTo>
                  <a:pt x="24" y="334"/>
                </a:lnTo>
                <a:lnTo>
                  <a:pt x="0" y="364"/>
                </a:lnTo>
                <a:lnTo>
                  <a:pt x="20" y="374"/>
                </a:lnTo>
                <a:lnTo>
                  <a:pt x="28" y="382"/>
                </a:lnTo>
                <a:lnTo>
                  <a:pt x="24" y="414"/>
                </a:lnTo>
                <a:lnTo>
                  <a:pt x="24" y="424"/>
                </a:lnTo>
                <a:lnTo>
                  <a:pt x="28" y="434"/>
                </a:lnTo>
                <a:lnTo>
                  <a:pt x="40" y="414"/>
                </a:lnTo>
                <a:lnTo>
                  <a:pt x="66" y="396"/>
                </a:lnTo>
                <a:lnTo>
                  <a:pt x="102" y="392"/>
                </a:lnTo>
                <a:lnTo>
                  <a:pt x="134" y="386"/>
                </a:lnTo>
                <a:lnTo>
                  <a:pt x="168" y="388"/>
                </a:lnTo>
                <a:lnTo>
                  <a:pt x="246" y="408"/>
                </a:lnTo>
                <a:lnTo>
                  <a:pt x="304" y="402"/>
                </a:lnTo>
                <a:lnTo>
                  <a:pt x="380" y="400"/>
                </a:lnTo>
                <a:lnTo>
                  <a:pt x="414" y="416"/>
                </a:lnTo>
                <a:lnTo>
                  <a:pt x="416" y="414"/>
                </a:lnTo>
                <a:lnTo>
                  <a:pt x="420" y="354"/>
                </a:lnTo>
                <a:lnTo>
                  <a:pt x="424" y="340"/>
                </a:lnTo>
                <a:lnTo>
                  <a:pt x="470" y="330"/>
                </a:lnTo>
                <a:lnTo>
                  <a:pt x="458" y="316"/>
                </a:lnTo>
                <a:lnTo>
                  <a:pt x="458" y="30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3" name="Freeform 259">
            <a:extLst>
              <a:ext uri="{FF2B5EF4-FFF2-40B4-BE49-F238E27FC236}">
                <a16:creationId xmlns:a16="http://schemas.microsoft.com/office/drawing/2014/main" id="{E39C2B66-22B4-0F77-ED56-E5F0A97DE058}"/>
              </a:ext>
            </a:extLst>
          </p:cNvPr>
          <p:cNvSpPr>
            <a:spLocks/>
          </p:cNvSpPr>
          <p:nvPr/>
        </p:nvSpPr>
        <p:spPr bwMode="auto">
          <a:xfrm>
            <a:off x="9647273" y="3726972"/>
            <a:ext cx="496620" cy="286562"/>
          </a:xfrm>
          <a:custGeom>
            <a:avLst/>
            <a:gdLst/>
            <a:ahLst/>
            <a:cxnLst>
              <a:cxn ang="0">
                <a:pos x="126" y="215"/>
              </a:cxn>
              <a:cxn ang="0">
                <a:pos x="148" y="203"/>
              </a:cxn>
              <a:cxn ang="0">
                <a:pos x="158" y="179"/>
              </a:cxn>
              <a:cxn ang="0">
                <a:pos x="206" y="195"/>
              </a:cxn>
              <a:cxn ang="0">
                <a:pos x="212" y="199"/>
              </a:cxn>
              <a:cxn ang="0">
                <a:pos x="234" y="209"/>
              </a:cxn>
              <a:cxn ang="0">
                <a:pos x="266" y="211"/>
              </a:cxn>
              <a:cxn ang="0">
                <a:pos x="270" y="221"/>
              </a:cxn>
              <a:cxn ang="0">
                <a:pos x="284" y="201"/>
              </a:cxn>
              <a:cxn ang="0">
                <a:pos x="310" y="209"/>
              </a:cxn>
              <a:cxn ang="0">
                <a:pos x="336" y="183"/>
              </a:cxn>
              <a:cxn ang="0">
                <a:pos x="348" y="171"/>
              </a:cxn>
              <a:cxn ang="0">
                <a:pos x="356" y="159"/>
              </a:cxn>
              <a:cxn ang="0">
                <a:pos x="383" y="145"/>
              </a:cxn>
              <a:cxn ang="0">
                <a:pos x="356" y="107"/>
              </a:cxn>
              <a:cxn ang="0">
                <a:pos x="354" y="109"/>
              </a:cxn>
              <a:cxn ang="0">
                <a:pos x="324" y="99"/>
              </a:cxn>
              <a:cxn ang="0">
                <a:pos x="322" y="85"/>
              </a:cxn>
              <a:cxn ang="0">
                <a:pos x="322" y="73"/>
              </a:cxn>
              <a:cxn ang="0">
                <a:pos x="314" y="75"/>
              </a:cxn>
              <a:cxn ang="0">
                <a:pos x="298" y="71"/>
              </a:cxn>
              <a:cxn ang="0">
                <a:pos x="300" y="71"/>
              </a:cxn>
              <a:cxn ang="0">
                <a:pos x="272" y="63"/>
              </a:cxn>
              <a:cxn ang="0">
                <a:pos x="278" y="81"/>
              </a:cxn>
              <a:cxn ang="0">
                <a:pos x="264" y="85"/>
              </a:cxn>
              <a:cxn ang="0">
                <a:pos x="248" y="71"/>
              </a:cxn>
              <a:cxn ang="0">
                <a:pos x="238" y="37"/>
              </a:cxn>
              <a:cxn ang="0">
                <a:pos x="206" y="27"/>
              </a:cxn>
              <a:cxn ang="0">
                <a:pos x="184" y="9"/>
              </a:cxn>
              <a:cxn ang="0">
                <a:pos x="172" y="2"/>
              </a:cxn>
              <a:cxn ang="0">
                <a:pos x="170" y="8"/>
              </a:cxn>
              <a:cxn ang="0">
                <a:pos x="160" y="15"/>
              </a:cxn>
              <a:cxn ang="0">
                <a:pos x="160" y="15"/>
              </a:cxn>
              <a:cxn ang="0">
                <a:pos x="160" y="15"/>
              </a:cxn>
              <a:cxn ang="0">
                <a:pos x="158" y="15"/>
              </a:cxn>
              <a:cxn ang="0">
                <a:pos x="142" y="0"/>
              </a:cxn>
              <a:cxn ang="0">
                <a:pos x="134" y="8"/>
              </a:cxn>
              <a:cxn ang="0">
                <a:pos x="70" y="31"/>
              </a:cxn>
              <a:cxn ang="0">
                <a:pos x="0" y="49"/>
              </a:cxn>
              <a:cxn ang="0">
                <a:pos x="14" y="81"/>
              </a:cxn>
              <a:cxn ang="0">
                <a:pos x="28" y="119"/>
              </a:cxn>
              <a:cxn ang="0">
                <a:pos x="46" y="149"/>
              </a:cxn>
              <a:cxn ang="0">
                <a:pos x="64" y="173"/>
              </a:cxn>
              <a:cxn ang="0">
                <a:pos x="88" y="195"/>
              </a:cxn>
              <a:cxn ang="0">
                <a:pos x="106" y="211"/>
              </a:cxn>
              <a:cxn ang="0">
                <a:pos x="126" y="215"/>
              </a:cxn>
            </a:cxnLst>
            <a:rect l="0" t="0" r="r" b="b"/>
            <a:pathLst>
              <a:path w="383" h="221">
                <a:moveTo>
                  <a:pt x="126" y="215"/>
                </a:moveTo>
                <a:lnTo>
                  <a:pt x="148" y="203"/>
                </a:lnTo>
                <a:lnTo>
                  <a:pt x="158" y="179"/>
                </a:lnTo>
                <a:lnTo>
                  <a:pt x="206" y="195"/>
                </a:lnTo>
                <a:lnTo>
                  <a:pt x="212" y="199"/>
                </a:lnTo>
                <a:lnTo>
                  <a:pt x="234" y="209"/>
                </a:lnTo>
                <a:lnTo>
                  <a:pt x="266" y="211"/>
                </a:lnTo>
                <a:lnTo>
                  <a:pt x="270" y="221"/>
                </a:lnTo>
                <a:lnTo>
                  <a:pt x="284" y="201"/>
                </a:lnTo>
                <a:lnTo>
                  <a:pt x="310" y="209"/>
                </a:lnTo>
                <a:lnTo>
                  <a:pt x="336" y="183"/>
                </a:lnTo>
                <a:lnTo>
                  <a:pt x="348" y="171"/>
                </a:lnTo>
                <a:lnTo>
                  <a:pt x="356" y="159"/>
                </a:lnTo>
                <a:lnTo>
                  <a:pt x="383" y="145"/>
                </a:lnTo>
                <a:lnTo>
                  <a:pt x="356" y="107"/>
                </a:lnTo>
                <a:lnTo>
                  <a:pt x="354" y="109"/>
                </a:lnTo>
                <a:lnTo>
                  <a:pt x="324" y="99"/>
                </a:lnTo>
                <a:lnTo>
                  <a:pt x="322" y="85"/>
                </a:lnTo>
                <a:lnTo>
                  <a:pt x="322" y="73"/>
                </a:lnTo>
                <a:lnTo>
                  <a:pt x="314" y="75"/>
                </a:lnTo>
                <a:lnTo>
                  <a:pt x="298" y="71"/>
                </a:lnTo>
                <a:lnTo>
                  <a:pt x="300" y="71"/>
                </a:lnTo>
                <a:lnTo>
                  <a:pt x="272" y="63"/>
                </a:lnTo>
                <a:lnTo>
                  <a:pt x="278" y="81"/>
                </a:lnTo>
                <a:lnTo>
                  <a:pt x="264" y="85"/>
                </a:lnTo>
                <a:lnTo>
                  <a:pt x="248" y="71"/>
                </a:lnTo>
                <a:lnTo>
                  <a:pt x="238" y="37"/>
                </a:lnTo>
                <a:lnTo>
                  <a:pt x="206" y="27"/>
                </a:lnTo>
                <a:lnTo>
                  <a:pt x="184" y="9"/>
                </a:lnTo>
                <a:lnTo>
                  <a:pt x="172" y="2"/>
                </a:lnTo>
                <a:lnTo>
                  <a:pt x="170" y="8"/>
                </a:lnTo>
                <a:lnTo>
                  <a:pt x="160" y="15"/>
                </a:lnTo>
                <a:lnTo>
                  <a:pt x="160" y="15"/>
                </a:lnTo>
                <a:lnTo>
                  <a:pt x="160" y="15"/>
                </a:lnTo>
                <a:lnTo>
                  <a:pt x="158" y="15"/>
                </a:lnTo>
                <a:lnTo>
                  <a:pt x="142" y="0"/>
                </a:lnTo>
                <a:lnTo>
                  <a:pt x="134" y="8"/>
                </a:lnTo>
                <a:lnTo>
                  <a:pt x="70" y="31"/>
                </a:lnTo>
                <a:lnTo>
                  <a:pt x="0" y="49"/>
                </a:lnTo>
                <a:lnTo>
                  <a:pt x="14" y="81"/>
                </a:lnTo>
                <a:lnTo>
                  <a:pt x="28" y="119"/>
                </a:lnTo>
                <a:lnTo>
                  <a:pt x="46" y="149"/>
                </a:lnTo>
                <a:lnTo>
                  <a:pt x="64" y="173"/>
                </a:lnTo>
                <a:lnTo>
                  <a:pt x="88" y="195"/>
                </a:lnTo>
                <a:lnTo>
                  <a:pt x="106" y="211"/>
                </a:lnTo>
                <a:lnTo>
                  <a:pt x="126" y="215"/>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4" name="Freeform 261">
            <a:extLst>
              <a:ext uri="{FF2B5EF4-FFF2-40B4-BE49-F238E27FC236}">
                <a16:creationId xmlns:a16="http://schemas.microsoft.com/office/drawing/2014/main" id="{E0A4927B-8C0F-88EA-5362-94EF73A57BF8}"/>
              </a:ext>
            </a:extLst>
          </p:cNvPr>
          <p:cNvSpPr>
            <a:spLocks/>
          </p:cNvSpPr>
          <p:nvPr/>
        </p:nvSpPr>
        <p:spPr bwMode="auto">
          <a:xfrm>
            <a:off x="9411282" y="3959075"/>
            <a:ext cx="599058" cy="295638"/>
          </a:xfrm>
          <a:custGeom>
            <a:avLst/>
            <a:gdLst/>
            <a:ahLst/>
            <a:cxnLst>
              <a:cxn ang="0">
                <a:pos x="458" y="84"/>
              </a:cxn>
              <a:cxn ang="0">
                <a:pos x="452" y="82"/>
              </a:cxn>
              <a:cxn ang="0">
                <a:pos x="452" y="42"/>
              </a:cxn>
              <a:cxn ang="0">
                <a:pos x="448" y="32"/>
              </a:cxn>
              <a:cxn ang="0">
                <a:pos x="416" y="30"/>
              </a:cxn>
              <a:cxn ang="0">
                <a:pos x="394" y="20"/>
              </a:cxn>
              <a:cxn ang="0">
                <a:pos x="388" y="16"/>
              </a:cxn>
              <a:cxn ang="0">
                <a:pos x="340" y="0"/>
              </a:cxn>
              <a:cxn ang="0">
                <a:pos x="330" y="24"/>
              </a:cxn>
              <a:cxn ang="0">
                <a:pos x="308" y="36"/>
              </a:cxn>
              <a:cxn ang="0">
                <a:pos x="288" y="32"/>
              </a:cxn>
              <a:cxn ang="0">
                <a:pos x="270" y="16"/>
              </a:cxn>
              <a:cxn ang="0">
                <a:pos x="262" y="38"/>
              </a:cxn>
              <a:cxn ang="0">
                <a:pos x="250" y="32"/>
              </a:cxn>
              <a:cxn ang="0">
                <a:pos x="246" y="32"/>
              </a:cxn>
              <a:cxn ang="0">
                <a:pos x="212" y="62"/>
              </a:cxn>
              <a:cxn ang="0">
                <a:pos x="214" y="92"/>
              </a:cxn>
              <a:cxn ang="0">
                <a:pos x="212" y="126"/>
              </a:cxn>
              <a:cxn ang="0">
                <a:pos x="200" y="112"/>
              </a:cxn>
              <a:cxn ang="0">
                <a:pos x="164" y="102"/>
              </a:cxn>
              <a:cxn ang="0">
                <a:pos x="126" y="110"/>
              </a:cxn>
              <a:cxn ang="0">
                <a:pos x="104" y="120"/>
              </a:cxn>
              <a:cxn ang="0">
                <a:pos x="88" y="120"/>
              </a:cxn>
              <a:cxn ang="0">
                <a:pos x="84" y="108"/>
              </a:cxn>
              <a:cxn ang="0">
                <a:pos x="70" y="102"/>
              </a:cxn>
              <a:cxn ang="0">
                <a:pos x="54" y="98"/>
              </a:cxn>
              <a:cxn ang="0">
                <a:pos x="24" y="94"/>
              </a:cxn>
              <a:cxn ang="0">
                <a:pos x="14" y="98"/>
              </a:cxn>
              <a:cxn ang="0">
                <a:pos x="6" y="96"/>
              </a:cxn>
              <a:cxn ang="0">
                <a:pos x="4" y="98"/>
              </a:cxn>
              <a:cxn ang="0">
                <a:pos x="0" y="120"/>
              </a:cxn>
              <a:cxn ang="0">
                <a:pos x="2" y="138"/>
              </a:cxn>
              <a:cxn ang="0">
                <a:pos x="54" y="158"/>
              </a:cxn>
              <a:cxn ang="0">
                <a:pos x="52" y="162"/>
              </a:cxn>
              <a:cxn ang="0">
                <a:pos x="52" y="162"/>
              </a:cxn>
              <a:cxn ang="0">
                <a:pos x="80" y="174"/>
              </a:cxn>
              <a:cxn ang="0">
                <a:pos x="94" y="160"/>
              </a:cxn>
              <a:cxn ang="0">
                <a:pos x="120" y="158"/>
              </a:cxn>
              <a:cxn ang="0">
                <a:pos x="158" y="156"/>
              </a:cxn>
              <a:cxn ang="0">
                <a:pos x="154" y="168"/>
              </a:cxn>
              <a:cxn ang="0">
                <a:pos x="158" y="174"/>
              </a:cxn>
              <a:cxn ang="0">
                <a:pos x="160" y="174"/>
              </a:cxn>
              <a:cxn ang="0">
                <a:pos x="160" y="182"/>
              </a:cxn>
              <a:cxn ang="0">
                <a:pos x="166" y="184"/>
              </a:cxn>
              <a:cxn ang="0">
                <a:pos x="166" y="190"/>
              </a:cxn>
              <a:cxn ang="0">
                <a:pos x="202" y="202"/>
              </a:cxn>
              <a:cxn ang="0">
                <a:pos x="246" y="214"/>
              </a:cxn>
              <a:cxn ang="0">
                <a:pos x="288" y="228"/>
              </a:cxn>
              <a:cxn ang="0">
                <a:pos x="322" y="210"/>
              </a:cxn>
              <a:cxn ang="0">
                <a:pos x="324" y="214"/>
              </a:cxn>
              <a:cxn ang="0">
                <a:pos x="352" y="212"/>
              </a:cxn>
              <a:cxn ang="0">
                <a:pos x="358" y="214"/>
              </a:cxn>
              <a:cxn ang="0">
                <a:pos x="366" y="208"/>
              </a:cxn>
              <a:cxn ang="0">
                <a:pos x="388" y="212"/>
              </a:cxn>
              <a:cxn ang="0">
                <a:pos x="396" y="194"/>
              </a:cxn>
              <a:cxn ang="0">
                <a:pos x="400" y="188"/>
              </a:cxn>
              <a:cxn ang="0">
                <a:pos x="404" y="188"/>
              </a:cxn>
              <a:cxn ang="0">
                <a:pos x="416" y="184"/>
              </a:cxn>
              <a:cxn ang="0">
                <a:pos x="418" y="172"/>
              </a:cxn>
              <a:cxn ang="0">
                <a:pos x="430" y="142"/>
              </a:cxn>
              <a:cxn ang="0">
                <a:pos x="450" y="124"/>
              </a:cxn>
              <a:cxn ang="0">
                <a:pos x="462" y="96"/>
              </a:cxn>
              <a:cxn ang="0">
                <a:pos x="458" y="84"/>
              </a:cxn>
            </a:cxnLst>
            <a:rect l="0" t="0" r="r" b="b"/>
            <a:pathLst>
              <a:path w="462" h="228">
                <a:moveTo>
                  <a:pt x="458" y="84"/>
                </a:moveTo>
                <a:lnTo>
                  <a:pt x="452" y="82"/>
                </a:lnTo>
                <a:lnTo>
                  <a:pt x="452" y="42"/>
                </a:lnTo>
                <a:lnTo>
                  <a:pt x="448" y="32"/>
                </a:lnTo>
                <a:lnTo>
                  <a:pt x="416" y="30"/>
                </a:lnTo>
                <a:lnTo>
                  <a:pt x="394" y="20"/>
                </a:lnTo>
                <a:lnTo>
                  <a:pt x="388" y="16"/>
                </a:lnTo>
                <a:lnTo>
                  <a:pt x="340" y="0"/>
                </a:lnTo>
                <a:lnTo>
                  <a:pt x="330" y="24"/>
                </a:lnTo>
                <a:lnTo>
                  <a:pt x="308" y="36"/>
                </a:lnTo>
                <a:lnTo>
                  <a:pt x="288" y="32"/>
                </a:lnTo>
                <a:lnTo>
                  <a:pt x="270" y="16"/>
                </a:lnTo>
                <a:lnTo>
                  <a:pt x="262" y="38"/>
                </a:lnTo>
                <a:lnTo>
                  <a:pt x="250" y="32"/>
                </a:lnTo>
                <a:lnTo>
                  <a:pt x="246" y="32"/>
                </a:lnTo>
                <a:lnTo>
                  <a:pt x="212" y="62"/>
                </a:lnTo>
                <a:lnTo>
                  <a:pt x="214" y="92"/>
                </a:lnTo>
                <a:lnTo>
                  <a:pt x="212" y="126"/>
                </a:lnTo>
                <a:lnTo>
                  <a:pt x="200" y="112"/>
                </a:lnTo>
                <a:lnTo>
                  <a:pt x="164" y="102"/>
                </a:lnTo>
                <a:lnTo>
                  <a:pt x="126" y="110"/>
                </a:lnTo>
                <a:lnTo>
                  <a:pt x="104" y="120"/>
                </a:lnTo>
                <a:lnTo>
                  <a:pt x="88" y="120"/>
                </a:lnTo>
                <a:lnTo>
                  <a:pt x="84" y="108"/>
                </a:lnTo>
                <a:lnTo>
                  <a:pt x="70" y="102"/>
                </a:lnTo>
                <a:lnTo>
                  <a:pt x="54" y="98"/>
                </a:lnTo>
                <a:lnTo>
                  <a:pt x="24" y="94"/>
                </a:lnTo>
                <a:lnTo>
                  <a:pt x="14" y="98"/>
                </a:lnTo>
                <a:lnTo>
                  <a:pt x="6" y="96"/>
                </a:lnTo>
                <a:lnTo>
                  <a:pt x="4" y="98"/>
                </a:lnTo>
                <a:lnTo>
                  <a:pt x="0" y="120"/>
                </a:lnTo>
                <a:lnTo>
                  <a:pt x="2" y="138"/>
                </a:lnTo>
                <a:lnTo>
                  <a:pt x="54" y="158"/>
                </a:lnTo>
                <a:lnTo>
                  <a:pt x="52" y="162"/>
                </a:lnTo>
                <a:lnTo>
                  <a:pt x="52" y="162"/>
                </a:lnTo>
                <a:lnTo>
                  <a:pt x="80" y="174"/>
                </a:lnTo>
                <a:lnTo>
                  <a:pt x="94" y="160"/>
                </a:lnTo>
                <a:lnTo>
                  <a:pt x="120" y="158"/>
                </a:lnTo>
                <a:lnTo>
                  <a:pt x="158" y="156"/>
                </a:lnTo>
                <a:lnTo>
                  <a:pt x="154" y="168"/>
                </a:lnTo>
                <a:lnTo>
                  <a:pt x="158" y="174"/>
                </a:lnTo>
                <a:lnTo>
                  <a:pt x="160" y="174"/>
                </a:lnTo>
                <a:lnTo>
                  <a:pt x="160" y="182"/>
                </a:lnTo>
                <a:lnTo>
                  <a:pt x="166" y="184"/>
                </a:lnTo>
                <a:lnTo>
                  <a:pt x="166" y="190"/>
                </a:lnTo>
                <a:lnTo>
                  <a:pt x="202" y="202"/>
                </a:lnTo>
                <a:lnTo>
                  <a:pt x="246" y="214"/>
                </a:lnTo>
                <a:lnTo>
                  <a:pt x="288" y="228"/>
                </a:lnTo>
                <a:lnTo>
                  <a:pt x="322" y="210"/>
                </a:lnTo>
                <a:lnTo>
                  <a:pt x="324" y="214"/>
                </a:lnTo>
                <a:lnTo>
                  <a:pt x="352" y="212"/>
                </a:lnTo>
                <a:lnTo>
                  <a:pt x="358" y="214"/>
                </a:lnTo>
                <a:lnTo>
                  <a:pt x="366" y="208"/>
                </a:lnTo>
                <a:lnTo>
                  <a:pt x="388" y="212"/>
                </a:lnTo>
                <a:lnTo>
                  <a:pt x="396" y="194"/>
                </a:lnTo>
                <a:lnTo>
                  <a:pt x="400" y="188"/>
                </a:lnTo>
                <a:lnTo>
                  <a:pt x="404" y="188"/>
                </a:lnTo>
                <a:lnTo>
                  <a:pt x="416" y="184"/>
                </a:lnTo>
                <a:lnTo>
                  <a:pt x="418" y="172"/>
                </a:lnTo>
                <a:lnTo>
                  <a:pt x="430" y="142"/>
                </a:lnTo>
                <a:lnTo>
                  <a:pt x="450" y="124"/>
                </a:lnTo>
                <a:lnTo>
                  <a:pt x="462" y="96"/>
                </a:lnTo>
                <a:lnTo>
                  <a:pt x="458" y="84"/>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5" name="Freeform 273">
            <a:extLst>
              <a:ext uri="{FF2B5EF4-FFF2-40B4-BE49-F238E27FC236}">
                <a16:creationId xmlns:a16="http://schemas.microsoft.com/office/drawing/2014/main" id="{8921C650-E8FF-3169-DAD6-A598B6E1EBD3}"/>
              </a:ext>
            </a:extLst>
          </p:cNvPr>
          <p:cNvSpPr>
            <a:spLocks/>
          </p:cNvSpPr>
          <p:nvPr/>
        </p:nvSpPr>
        <p:spPr bwMode="auto">
          <a:xfrm>
            <a:off x="10250220" y="4036874"/>
            <a:ext cx="767624" cy="536818"/>
          </a:xfrm>
          <a:custGeom>
            <a:avLst/>
            <a:gdLst/>
            <a:ahLst/>
            <a:cxnLst>
              <a:cxn ang="0">
                <a:pos x="498" y="238"/>
              </a:cxn>
              <a:cxn ang="0">
                <a:pos x="494" y="224"/>
              </a:cxn>
              <a:cxn ang="0">
                <a:pos x="486" y="182"/>
              </a:cxn>
              <a:cxn ang="0">
                <a:pos x="484" y="172"/>
              </a:cxn>
              <a:cxn ang="0">
                <a:pos x="490" y="136"/>
              </a:cxn>
              <a:cxn ang="0">
                <a:pos x="458" y="90"/>
              </a:cxn>
              <a:cxn ang="0">
                <a:pos x="422" y="46"/>
              </a:cxn>
              <a:cxn ang="0">
                <a:pos x="378" y="0"/>
              </a:cxn>
              <a:cxn ang="0">
                <a:pos x="360" y="8"/>
              </a:cxn>
              <a:cxn ang="0">
                <a:pos x="336" y="30"/>
              </a:cxn>
              <a:cxn ang="0">
                <a:pos x="234" y="40"/>
              </a:cxn>
              <a:cxn ang="0">
                <a:pos x="158" y="42"/>
              </a:cxn>
              <a:cxn ang="0">
                <a:pos x="134" y="56"/>
              </a:cxn>
              <a:cxn ang="0">
                <a:pos x="96" y="108"/>
              </a:cxn>
              <a:cxn ang="0">
                <a:pos x="38" y="194"/>
              </a:cxn>
              <a:cxn ang="0">
                <a:pos x="14" y="202"/>
              </a:cxn>
              <a:cxn ang="0">
                <a:pos x="28" y="244"/>
              </a:cxn>
              <a:cxn ang="0">
                <a:pos x="70" y="288"/>
              </a:cxn>
              <a:cxn ang="0">
                <a:pos x="70" y="322"/>
              </a:cxn>
              <a:cxn ang="0">
                <a:pos x="96" y="336"/>
              </a:cxn>
              <a:cxn ang="0">
                <a:pos x="114" y="344"/>
              </a:cxn>
              <a:cxn ang="0">
                <a:pos x="144" y="330"/>
              </a:cxn>
              <a:cxn ang="0">
                <a:pos x="150" y="344"/>
              </a:cxn>
              <a:cxn ang="0">
                <a:pos x="156" y="372"/>
              </a:cxn>
              <a:cxn ang="0">
                <a:pos x="210" y="404"/>
              </a:cxn>
              <a:cxn ang="0">
                <a:pos x="272" y="410"/>
              </a:cxn>
              <a:cxn ang="0">
                <a:pos x="344" y="414"/>
              </a:cxn>
              <a:cxn ang="0">
                <a:pos x="410" y="372"/>
              </a:cxn>
              <a:cxn ang="0">
                <a:pos x="480" y="376"/>
              </a:cxn>
              <a:cxn ang="0">
                <a:pos x="538" y="386"/>
              </a:cxn>
              <a:cxn ang="0">
                <a:pos x="540" y="332"/>
              </a:cxn>
              <a:cxn ang="0">
                <a:pos x="560" y="294"/>
              </a:cxn>
              <a:cxn ang="0">
                <a:pos x="592" y="246"/>
              </a:cxn>
              <a:cxn ang="0">
                <a:pos x="534" y="254"/>
              </a:cxn>
            </a:cxnLst>
            <a:rect l="0" t="0" r="r" b="b"/>
            <a:pathLst>
              <a:path w="592" h="414">
                <a:moveTo>
                  <a:pt x="534" y="254"/>
                </a:moveTo>
                <a:lnTo>
                  <a:pt x="498" y="238"/>
                </a:lnTo>
                <a:lnTo>
                  <a:pt x="498" y="238"/>
                </a:lnTo>
                <a:lnTo>
                  <a:pt x="494" y="224"/>
                </a:lnTo>
                <a:lnTo>
                  <a:pt x="488" y="202"/>
                </a:lnTo>
                <a:lnTo>
                  <a:pt x="486" y="182"/>
                </a:lnTo>
                <a:lnTo>
                  <a:pt x="488" y="174"/>
                </a:lnTo>
                <a:lnTo>
                  <a:pt x="484" y="172"/>
                </a:lnTo>
                <a:lnTo>
                  <a:pt x="488" y="162"/>
                </a:lnTo>
                <a:lnTo>
                  <a:pt x="490" y="136"/>
                </a:lnTo>
                <a:lnTo>
                  <a:pt x="470" y="100"/>
                </a:lnTo>
                <a:lnTo>
                  <a:pt x="458" y="90"/>
                </a:lnTo>
                <a:lnTo>
                  <a:pt x="446" y="78"/>
                </a:lnTo>
                <a:lnTo>
                  <a:pt x="422" y="46"/>
                </a:lnTo>
                <a:lnTo>
                  <a:pt x="400" y="6"/>
                </a:lnTo>
                <a:lnTo>
                  <a:pt x="378" y="0"/>
                </a:lnTo>
                <a:lnTo>
                  <a:pt x="376" y="0"/>
                </a:lnTo>
                <a:lnTo>
                  <a:pt x="360" y="8"/>
                </a:lnTo>
                <a:lnTo>
                  <a:pt x="350" y="26"/>
                </a:lnTo>
                <a:lnTo>
                  <a:pt x="336" y="30"/>
                </a:lnTo>
                <a:lnTo>
                  <a:pt x="300" y="38"/>
                </a:lnTo>
                <a:lnTo>
                  <a:pt x="234" y="40"/>
                </a:lnTo>
                <a:lnTo>
                  <a:pt x="196" y="34"/>
                </a:lnTo>
                <a:lnTo>
                  <a:pt x="158" y="42"/>
                </a:lnTo>
                <a:lnTo>
                  <a:pt x="140" y="58"/>
                </a:lnTo>
                <a:lnTo>
                  <a:pt x="134" y="56"/>
                </a:lnTo>
                <a:lnTo>
                  <a:pt x="124" y="60"/>
                </a:lnTo>
                <a:lnTo>
                  <a:pt x="96" y="108"/>
                </a:lnTo>
                <a:lnTo>
                  <a:pt x="60" y="180"/>
                </a:lnTo>
                <a:lnTo>
                  <a:pt x="38" y="194"/>
                </a:lnTo>
                <a:lnTo>
                  <a:pt x="28" y="204"/>
                </a:lnTo>
                <a:lnTo>
                  <a:pt x="14" y="202"/>
                </a:lnTo>
                <a:lnTo>
                  <a:pt x="0" y="208"/>
                </a:lnTo>
                <a:lnTo>
                  <a:pt x="28" y="244"/>
                </a:lnTo>
                <a:lnTo>
                  <a:pt x="42" y="270"/>
                </a:lnTo>
                <a:lnTo>
                  <a:pt x="70" y="288"/>
                </a:lnTo>
                <a:lnTo>
                  <a:pt x="72" y="306"/>
                </a:lnTo>
                <a:lnTo>
                  <a:pt x="70" y="322"/>
                </a:lnTo>
                <a:lnTo>
                  <a:pt x="86" y="330"/>
                </a:lnTo>
                <a:lnTo>
                  <a:pt x="96" y="336"/>
                </a:lnTo>
                <a:lnTo>
                  <a:pt x="108" y="336"/>
                </a:lnTo>
                <a:lnTo>
                  <a:pt x="114" y="344"/>
                </a:lnTo>
                <a:lnTo>
                  <a:pt x="128" y="340"/>
                </a:lnTo>
                <a:lnTo>
                  <a:pt x="144" y="330"/>
                </a:lnTo>
                <a:lnTo>
                  <a:pt x="158" y="346"/>
                </a:lnTo>
                <a:lnTo>
                  <a:pt x="150" y="344"/>
                </a:lnTo>
                <a:lnTo>
                  <a:pt x="142" y="350"/>
                </a:lnTo>
                <a:lnTo>
                  <a:pt x="156" y="372"/>
                </a:lnTo>
                <a:lnTo>
                  <a:pt x="196" y="404"/>
                </a:lnTo>
                <a:lnTo>
                  <a:pt x="210" y="404"/>
                </a:lnTo>
                <a:lnTo>
                  <a:pt x="230" y="408"/>
                </a:lnTo>
                <a:lnTo>
                  <a:pt x="272" y="410"/>
                </a:lnTo>
                <a:lnTo>
                  <a:pt x="296" y="410"/>
                </a:lnTo>
                <a:lnTo>
                  <a:pt x="344" y="414"/>
                </a:lnTo>
                <a:lnTo>
                  <a:pt x="378" y="382"/>
                </a:lnTo>
                <a:lnTo>
                  <a:pt x="410" y="372"/>
                </a:lnTo>
                <a:lnTo>
                  <a:pt x="452" y="360"/>
                </a:lnTo>
                <a:lnTo>
                  <a:pt x="480" y="376"/>
                </a:lnTo>
                <a:lnTo>
                  <a:pt x="522" y="386"/>
                </a:lnTo>
                <a:lnTo>
                  <a:pt x="538" y="386"/>
                </a:lnTo>
                <a:lnTo>
                  <a:pt x="540" y="348"/>
                </a:lnTo>
                <a:lnTo>
                  <a:pt x="540" y="332"/>
                </a:lnTo>
                <a:lnTo>
                  <a:pt x="552" y="308"/>
                </a:lnTo>
                <a:lnTo>
                  <a:pt x="560" y="294"/>
                </a:lnTo>
                <a:lnTo>
                  <a:pt x="590" y="284"/>
                </a:lnTo>
                <a:lnTo>
                  <a:pt x="592" y="246"/>
                </a:lnTo>
                <a:lnTo>
                  <a:pt x="570" y="230"/>
                </a:lnTo>
                <a:lnTo>
                  <a:pt x="534" y="254"/>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6" name="Freeform 275">
            <a:extLst>
              <a:ext uri="{FF2B5EF4-FFF2-40B4-BE49-F238E27FC236}">
                <a16:creationId xmlns:a16="http://schemas.microsoft.com/office/drawing/2014/main" id="{B74B5F18-37A2-9C34-0C0C-4C0D7DB691EE}"/>
              </a:ext>
            </a:extLst>
          </p:cNvPr>
          <p:cNvSpPr>
            <a:spLocks/>
          </p:cNvSpPr>
          <p:nvPr/>
        </p:nvSpPr>
        <p:spPr bwMode="auto">
          <a:xfrm>
            <a:off x="10740358" y="4005754"/>
            <a:ext cx="298233" cy="339725"/>
          </a:xfrm>
          <a:custGeom>
            <a:avLst/>
            <a:gdLst/>
            <a:ahLst/>
            <a:cxnLst>
              <a:cxn ang="0">
                <a:pos x="44" y="70"/>
              </a:cxn>
              <a:cxn ang="0">
                <a:pos x="68" y="102"/>
              </a:cxn>
              <a:cxn ang="0">
                <a:pos x="80" y="114"/>
              </a:cxn>
              <a:cxn ang="0">
                <a:pos x="92" y="124"/>
              </a:cxn>
              <a:cxn ang="0">
                <a:pos x="112" y="160"/>
              </a:cxn>
              <a:cxn ang="0">
                <a:pos x="110" y="186"/>
              </a:cxn>
              <a:cxn ang="0">
                <a:pos x="106" y="196"/>
              </a:cxn>
              <a:cxn ang="0">
                <a:pos x="110" y="198"/>
              </a:cxn>
              <a:cxn ang="0">
                <a:pos x="108" y="206"/>
              </a:cxn>
              <a:cxn ang="0">
                <a:pos x="110" y="226"/>
              </a:cxn>
              <a:cxn ang="0">
                <a:pos x="116" y="248"/>
              </a:cxn>
              <a:cxn ang="0">
                <a:pos x="120" y="262"/>
              </a:cxn>
              <a:cxn ang="0">
                <a:pos x="152" y="224"/>
              </a:cxn>
              <a:cxn ang="0">
                <a:pos x="162" y="204"/>
              </a:cxn>
              <a:cxn ang="0">
                <a:pos x="160" y="180"/>
              </a:cxn>
              <a:cxn ang="0">
                <a:pos x="160" y="164"/>
              </a:cxn>
              <a:cxn ang="0">
                <a:pos x="174" y="156"/>
              </a:cxn>
              <a:cxn ang="0">
                <a:pos x="220" y="166"/>
              </a:cxn>
              <a:cxn ang="0">
                <a:pos x="230" y="162"/>
              </a:cxn>
              <a:cxn ang="0">
                <a:pos x="212" y="152"/>
              </a:cxn>
              <a:cxn ang="0">
                <a:pos x="214" y="132"/>
              </a:cxn>
              <a:cxn ang="0">
                <a:pos x="186" y="112"/>
              </a:cxn>
              <a:cxn ang="0">
                <a:pos x="158" y="76"/>
              </a:cxn>
              <a:cxn ang="0">
                <a:pos x="158" y="74"/>
              </a:cxn>
              <a:cxn ang="0">
                <a:pos x="158" y="42"/>
              </a:cxn>
              <a:cxn ang="0">
                <a:pos x="150" y="30"/>
              </a:cxn>
              <a:cxn ang="0">
                <a:pos x="136" y="32"/>
              </a:cxn>
              <a:cxn ang="0">
                <a:pos x="112" y="24"/>
              </a:cxn>
              <a:cxn ang="0">
                <a:pos x="98" y="14"/>
              </a:cxn>
              <a:cxn ang="0">
                <a:pos x="76" y="4"/>
              </a:cxn>
              <a:cxn ang="0">
                <a:pos x="50" y="0"/>
              </a:cxn>
              <a:cxn ang="0">
                <a:pos x="42" y="6"/>
              </a:cxn>
              <a:cxn ang="0">
                <a:pos x="14" y="10"/>
              </a:cxn>
              <a:cxn ang="0">
                <a:pos x="0" y="24"/>
              </a:cxn>
              <a:cxn ang="0">
                <a:pos x="22" y="30"/>
              </a:cxn>
              <a:cxn ang="0">
                <a:pos x="44" y="70"/>
              </a:cxn>
            </a:cxnLst>
            <a:rect l="0" t="0" r="r" b="b"/>
            <a:pathLst>
              <a:path w="230" h="262">
                <a:moveTo>
                  <a:pt x="44" y="70"/>
                </a:moveTo>
                <a:lnTo>
                  <a:pt x="68" y="102"/>
                </a:lnTo>
                <a:lnTo>
                  <a:pt x="80" y="114"/>
                </a:lnTo>
                <a:lnTo>
                  <a:pt x="92" y="124"/>
                </a:lnTo>
                <a:lnTo>
                  <a:pt x="112" y="160"/>
                </a:lnTo>
                <a:lnTo>
                  <a:pt x="110" y="186"/>
                </a:lnTo>
                <a:lnTo>
                  <a:pt x="106" y="196"/>
                </a:lnTo>
                <a:lnTo>
                  <a:pt x="110" y="198"/>
                </a:lnTo>
                <a:lnTo>
                  <a:pt x="108" y="206"/>
                </a:lnTo>
                <a:lnTo>
                  <a:pt x="110" y="226"/>
                </a:lnTo>
                <a:lnTo>
                  <a:pt x="116" y="248"/>
                </a:lnTo>
                <a:lnTo>
                  <a:pt x="120" y="262"/>
                </a:lnTo>
                <a:lnTo>
                  <a:pt x="152" y="224"/>
                </a:lnTo>
                <a:lnTo>
                  <a:pt x="162" y="204"/>
                </a:lnTo>
                <a:lnTo>
                  <a:pt x="160" y="180"/>
                </a:lnTo>
                <a:lnTo>
                  <a:pt x="160" y="164"/>
                </a:lnTo>
                <a:lnTo>
                  <a:pt x="174" y="156"/>
                </a:lnTo>
                <a:lnTo>
                  <a:pt x="220" y="166"/>
                </a:lnTo>
                <a:lnTo>
                  <a:pt x="230" y="162"/>
                </a:lnTo>
                <a:lnTo>
                  <a:pt x="212" y="152"/>
                </a:lnTo>
                <a:lnTo>
                  <a:pt x="214" y="132"/>
                </a:lnTo>
                <a:lnTo>
                  <a:pt x="186" y="112"/>
                </a:lnTo>
                <a:lnTo>
                  <a:pt x="158" y="76"/>
                </a:lnTo>
                <a:lnTo>
                  <a:pt x="158" y="74"/>
                </a:lnTo>
                <a:lnTo>
                  <a:pt x="158" y="42"/>
                </a:lnTo>
                <a:lnTo>
                  <a:pt x="150" y="30"/>
                </a:lnTo>
                <a:lnTo>
                  <a:pt x="136" y="32"/>
                </a:lnTo>
                <a:lnTo>
                  <a:pt x="112" y="24"/>
                </a:lnTo>
                <a:lnTo>
                  <a:pt x="98" y="14"/>
                </a:lnTo>
                <a:lnTo>
                  <a:pt x="76" y="4"/>
                </a:lnTo>
                <a:lnTo>
                  <a:pt x="50" y="0"/>
                </a:lnTo>
                <a:lnTo>
                  <a:pt x="42" y="6"/>
                </a:lnTo>
                <a:lnTo>
                  <a:pt x="14" y="10"/>
                </a:lnTo>
                <a:lnTo>
                  <a:pt x="0" y="24"/>
                </a:lnTo>
                <a:lnTo>
                  <a:pt x="22" y="30"/>
                </a:lnTo>
                <a:lnTo>
                  <a:pt x="44" y="70"/>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7" name="Freeform 300">
            <a:extLst>
              <a:ext uri="{FF2B5EF4-FFF2-40B4-BE49-F238E27FC236}">
                <a16:creationId xmlns:a16="http://schemas.microsoft.com/office/drawing/2014/main" id="{73FB4007-4CBC-07AE-8844-C4205C9725FC}"/>
              </a:ext>
            </a:extLst>
          </p:cNvPr>
          <p:cNvSpPr>
            <a:spLocks/>
          </p:cNvSpPr>
          <p:nvPr/>
        </p:nvSpPr>
        <p:spPr bwMode="auto">
          <a:xfrm>
            <a:off x="8353205" y="3579152"/>
            <a:ext cx="988056" cy="1199411"/>
          </a:xfrm>
          <a:custGeom>
            <a:avLst/>
            <a:gdLst/>
            <a:ahLst/>
            <a:cxnLst/>
            <a:rect l="l" t="t" r="r" b="b"/>
            <a:pathLst>
              <a:path w="1209675" h="1468437">
                <a:moveTo>
                  <a:pt x="1165225" y="1284287"/>
                </a:moveTo>
                <a:lnTo>
                  <a:pt x="1187450" y="1284287"/>
                </a:lnTo>
                <a:lnTo>
                  <a:pt x="1196975" y="1303337"/>
                </a:lnTo>
                <a:lnTo>
                  <a:pt x="1181100" y="1414462"/>
                </a:lnTo>
                <a:lnTo>
                  <a:pt x="1152525" y="1468437"/>
                </a:lnTo>
                <a:lnTo>
                  <a:pt x="1120775" y="1452562"/>
                </a:lnTo>
                <a:lnTo>
                  <a:pt x="1098550" y="1392237"/>
                </a:lnTo>
                <a:lnTo>
                  <a:pt x="1098550" y="1344612"/>
                </a:lnTo>
                <a:lnTo>
                  <a:pt x="1111250" y="1306512"/>
                </a:lnTo>
                <a:lnTo>
                  <a:pt x="1152525" y="1293812"/>
                </a:lnTo>
                <a:close/>
                <a:moveTo>
                  <a:pt x="708025" y="0"/>
                </a:moveTo>
                <a:lnTo>
                  <a:pt x="762000" y="0"/>
                </a:lnTo>
                <a:lnTo>
                  <a:pt x="781050" y="63500"/>
                </a:lnTo>
                <a:lnTo>
                  <a:pt x="800100" y="53975"/>
                </a:lnTo>
                <a:lnTo>
                  <a:pt x="844550" y="130175"/>
                </a:lnTo>
                <a:lnTo>
                  <a:pt x="876300" y="142875"/>
                </a:lnTo>
                <a:lnTo>
                  <a:pt x="869950" y="187325"/>
                </a:lnTo>
                <a:lnTo>
                  <a:pt x="917575" y="190500"/>
                </a:lnTo>
                <a:lnTo>
                  <a:pt x="927100" y="223838"/>
                </a:lnTo>
                <a:lnTo>
                  <a:pt x="962025" y="255588"/>
                </a:lnTo>
                <a:lnTo>
                  <a:pt x="993775" y="277813"/>
                </a:lnTo>
                <a:lnTo>
                  <a:pt x="1003300" y="277813"/>
                </a:lnTo>
                <a:lnTo>
                  <a:pt x="1050925" y="300038"/>
                </a:lnTo>
                <a:lnTo>
                  <a:pt x="1085850" y="341313"/>
                </a:lnTo>
                <a:lnTo>
                  <a:pt x="1120775" y="360363"/>
                </a:lnTo>
                <a:lnTo>
                  <a:pt x="1209675" y="398462"/>
                </a:lnTo>
                <a:lnTo>
                  <a:pt x="1174750" y="433387"/>
                </a:lnTo>
                <a:lnTo>
                  <a:pt x="1130300" y="506412"/>
                </a:lnTo>
                <a:lnTo>
                  <a:pt x="1114425" y="554037"/>
                </a:lnTo>
                <a:lnTo>
                  <a:pt x="1117600" y="582612"/>
                </a:lnTo>
                <a:lnTo>
                  <a:pt x="1095375" y="598487"/>
                </a:lnTo>
                <a:lnTo>
                  <a:pt x="1054100" y="592137"/>
                </a:lnTo>
                <a:lnTo>
                  <a:pt x="1057275" y="611187"/>
                </a:lnTo>
                <a:lnTo>
                  <a:pt x="1022350" y="636587"/>
                </a:lnTo>
                <a:lnTo>
                  <a:pt x="977900" y="681037"/>
                </a:lnTo>
                <a:lnTo>
                  <a:pt x="949325" y="719137"/>
                </a:lnTo>
                <a:lnTo>
                  <a:pt x="930275" y="750887"/>
                </a:lnTo>
                <a:lnTo>
                  <a:pt x="927100" y="754062"/>
                </a:lnTo>
                <a:lnTo>
                  <a:pt x="955675" y="731837"/>
                </a:lnTo>
                <a:lnTo>
                  <a:pt x="1016000" y="728662"/>
                </a:lnTo>
                <a:lnTo>
                  <a:pt x="1025525" y="801687"/>
                </a:lnTo>
                <a:lnTo>
                  <a:pt x="1000125" y="827087"/>
                </a:lnTo>
                <a:lnTo>
                  <a:pt x="1022350" y="868362"/>
                </a:lnTo>
                <a:lnTo>
                  <a:pt x="1019175" y="893762"/>
                </a:lnTo>
                <a:lnTo>
                  <a:pt x="1006475" y="903287"/>
                </a:lnTo>
                <a:lnTo>
                  <a:pt x="965200" y="909637"/>
                </a:lnTo>
                <a:lnTo>
                  <a:pt x="974725" y="931862"/>
                </a:lnTo>
                <a:lnTo>
                  <a:pt x="987425" y="947737"/>
                </a:lnTo>
                <a:lnTo>
                  <a:pt x="1000125" y="957262"/>
                </a:lnTo>
                <a:lnTo>
                  <a:pt x="977900" y="989012"/>
                </a:lnTo>
                <a:lnTo>
                  <a:pt x="971550" y="1014412"/>
                </a:lnTo>
                <a:lnTo>
                  <a:pt x="987425" y="1039812"/>
                </a:lnTo>
                <a:lnTo>
                  <a:pt x="1019175" y="1062037"/>
                </a:lnTo>
                <a:lnTo>
                  <a:pt x="1022350" y="1109662"/>
                </a:lnTo>
                <a:lnTo>
                  <a:pt x="1012825" y="1112837"/>
                </a:lnTo>
                <a:lnTo>
                  <a:pt x="984250" y="1119187"/>
                </a:lnTo>
                <a:lnTo>
                  <a:pt x="939800" y="1147762"/>
                </a:lnTo>
                <a:lnTo>
                  <a:pt x="873125" y="1179512"/>
                </a:lnTo>
                <a:lnTo>
                  <a:pt x="793750" y="1144587"/>
                </a:lnTo>
                <a:lnTo>
                  <a:pt x="768350" y="1116012"/>
                </a:lnTo>
                <a:lnTo>
                  <a:pt x="749300" y="1116012"/>
                </a:lnTo>
                <a:lnTo>
                  <a:pt x="733425" y="1084262"/>
                </a:lnTo>
                <a:lnTo>
                  <a:pt x="698500" y="1093787"/>
                </a:lnTo>
                <a:lnTo>
                  <a:pt x="657225" y="1068387"/>
                </a:lnTo>
                <a:lnTo>
                  <a:pt x="650875" y="1071562"/>
                </a:lnTo>
                <a:lnTo>
                  <a:pt x="612775" y="1093787"/>
                </a:lnTo>
                <a:lnTo>
                  <a:pt x="574675" y="1103312"/>
                </a:lnTo>
                <a:lnTo>
                  <a:pt x="549275" y="1208087"/>
                </a:lnTo>
                <a:lnTo>
                  <a:pt x="514350" y="1195387"/>
                </a:lnTo>
                <a:lnTo>
                  <a:pt x="479425" y="1195387"/>
                </a:lnTo>
                <a:lnTo>
                  <a:pt x="403225" y="1160462"/>
                </a:lnTo>
                <a:lnTo>
                  <a:pt x="406400" y="1154112"/>
                </a:lnTo>
                <a:lnTo>
                  <a:pt x="409575" y="1144587"/>
                </a:lnTo>
                <a:lnTo>
                  <a:pt x="406400" y="1144587"/>
                </a:lnTo>
                <a:lnTo>
                  <a:pt x="390525" y="1135062"/>
                </a:lnTo>
                <a:lnTo>
                  <a:pt x="384175" y="1135062"/>
                </a:lnTo>
                <a:lnTo>
                  <a:pt x="377825" y="1141412"/>
                </a:lnTo>
                <a:lnTo>
                  <a:pt x="339725" y="1100137"/>
                </a:lnTo>
                <a:lnTo>
                  <a:pt x="314325" y="1084262"/>
                </a:lnTo>
                <a:lnTo>
                  <a:pt x="304800" y="1096962"/>
                </a:lnTo>
                <a:lnTo>
                  <a:pt x="301625" y="1106487"/>
                </a:lnTo>
                <a:lnTo>
                  <a:pt x="282575" y="1100137"/>
                </a:lnTo>
                <a:lnTo>
                  <a:pt x="269875" y="1096962"/>
                </a:lnTo>
                <a:lnTo>
                  <a:pt x="263525" y="1096962"/>
                </a:lnTo>
                <a:lnTo>
                  <a:pt x="260350" y="1090612"/>
                </a:lnTo>
                <a:lnTo>
                  <a:pt x="219075" y="1077912"/>
                </a:lnTo>
                <a:lnTo>
                  <a:pt x="168275" y="1046162"/>
                </a:lnTo>
                <a:lnTo>
                  <a:pt x="79375" y="941387"/>
                </a:lnTo>
                <a:lnTo>
                  <a:pt x="146050" y="868362"/>
                </a:lnTo>
                <a:lnTo>
                  <a:pt x="203200" y="722312"/>
                </a:lnTo>
                <a:lnTo>
                  <a:pt x="222250" y="639762"/>
                </a:lnTo>
                <a:lnTo>
                  <a:pt x="247650" y="646112"/>
                </a:lnTo>
                <a:lnTo>
                  <a:pt x="254000" y="573087"/>
                </a:lnTo>
                <a:lnTo>
                  <a:pt x="219075" y="534987"/>
                </a:lnTo>
                <a:lnTo>
                  <a:pt x="190500" y="484187"/>
                </a:lnTo>
                <a:lnTo>
                  <a:pt x="203200" y="439737"/>
                </a:lnTo>
                <a:lnTo>
                  <a:pt x="234950" y="420687"/>
                </a:lnTo>
                <a:lnTo>
                  <a:pt x="212725" y="398462"/>
                </a:lnTo>
                <a:lnTo>
                  <a:pt x="177800" y="398462"/>
                </a:lnTo>
                <a:lnTo>
                  <a:pt x="152400" y="357188"/>
                </a:lnTo>
                <a:lnTo>
                  <a:pt x="88900" y="290513"/>
                </a:lnTo>
                <a:lnTo>
                  <a:pt x="0" y="217488"/>
                </a:lnTo>
                <a:lnTo>
                  <a:pt x="19050" y="180975"/>
                </a:lnTo>
                <a:lnTo>
                  <a:pt x="19050" y="155575"/>
                </a:lnTo>
                <a:lnTo>
                  <a:pt x="44450" y="146050"/>
                </a:lnTo>
                <a:lnTo>
                  <a:pt x="85725" y="152400"/>
                </a:lnTo>
                <a:lnTo>
                  <a:pt x="120650" y="161925"/>
                </a:lnTo>
                <a:lnTo>
                  <a:pt x="136525" y="158750"/>
                </a:lnTo>
                <a:lnTo>
                  <a:pt x="171450" y="155575"/>
                </a:lnTo>
                <a:lnTo>
                  <a:pt x="187325" y="171450"/>
                </a:lnTo>
                <a:lnTo>
                  <a:pt x="203200" y="211138"/>
                </a:lnTo>
                <a:lnTo>
                  <a:pt x="231775" y="204788"/>
                </a:lnTo>
                <a:lnTo>
                  <a:pt x="244475" y="204788"/>
                </a:lnTo>
                <a:lnTo>
                  <a:pt x="327025" y="236538"/>
                </a:lnTo>
                <a:lnTo>
                  <a:pt x="314325" y="217488"/>
                </a:lnTo>
                <a:lnTo>
                  <a:pt x="323850" y="184150"/>
                </a:lnTo>
                <a:lnTo>
                  <a:pt x="327025" y="146050"/>
                </a:lnTo>
                <a:lnTo>
                  <a:pt x="320675" y="120650"/>
                </a:lnTo>
                <a:lnTo>
                  <a:pt x="327025" y="88900"/>
                </a:lnTo>
                <a:lnTo>
                  <a:pt x="320675" y="82550"/>
                </a:lnTo>
                <a:lnTo>
                  <a:pt x="346075" y="92075"/>
                </a:lnTo>
                <a:lnTo>
                  <a:pt x="377825" y="98425"/>
                </a:lnTo>
                <a:lnTo>
                  <a:pt x="371475" y="114300"/>
                </a:lnTo>
                <a:lnTo>
                  <a:pt x="371475" y="130175"/>
                </a:lnTo>
                <a:lnTo>
                  <a:pt x="454025" y="184150"/>
                </a:lnTo>
                <a:lnTo>
                  <a:pt x="527050" y="171450"/>
                </a:lnTo>
                <a:lnTo>
                  <a:pt x="492125" y="161925"/>
                </a:lnTo>
                <a:lnTo>
                  <a:pt x="514350" y="133350"/>
                </a:lnTo>
                <a:lnTo>
                  <a:pt x="565150" y="123825"/>
                </a:lnTo>
                <a:lnTo>
                  <a:pt x="609600" y="123825"/>
                </a:lnTo>
                <a:lnTo>
                  <a:pt x="650875" y="88900"/>
                </a:lnTo>
                <a:lnTo>
                  <a:pt x="669925" y="19050"/>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8" name="Freeform 260">
            <a:extLst>
              <a:ext uri="{FF2B5EF4-FFF2-40B4-BE49-F238E27FC236}">
                <a16:creationId xmlns:a16="http://schemas.microsoft.com/office/drawing/2014/main" id="{67011A9F-2E91-AD1F-591A-1CDA67C3694B}"/>
              </a:ext>
            </a:extLst>
          </p:cNvPr>
          <p:cNvSpPr>
            <a:spLocks/>
          </p:cNvSpPr>
          <p:nvPr/>
        </p:nvSpPr>
        <p:spPr bwMode="auto">
          <a:xfrm>
            <a:off x="9110455" y="4055027"/>
            <a:ext cx="370846" cy="199685"/>
          </a:xfrm>
          <a:custGeom>
            <a:avLst/>
            <a:gdLst/>
            <a:ahLst/>
            <a:cxnLst/>
            <a:rect l="l" t="t" r="r" b="b"/>
            <a:pathLst>
              <a:path w="454025" h="244475">
                <a:moveTo>
                  <a:pt x="190500" y="0"/>
                </a:moveTo>
                <a:lnTo>
                  <a:pt x="193675" y="3175"/>
                </a:lnTo>
                <a:lnTo>
                  <a:pt x="250825" y="6350"/>
                </a:lnTo>
                <a:lnTo>
                  <a:pt x="260350" y="12700"/>
                </a:lnTo>
                <a:lnTo>
                  <a:pt x="276225" y="12700"/>
                </a:lnTo>
                <a:lnTo>
                  <a:pt x="285750" y="9525"/>
                </a:lnTo>
                <a:lnTo>
                  <a:pt x="288925" y="3175"/>
                </a:lnTo>
                <a:lnTo>
                  <a:pt x="314325" y="9525"/>
                </a:lnTo>
                <a:lnTo>
                  <a:pt x="377825" y="34925"/>
                </a:lnTo>
                <a:lnTo>
                  <a:pt x="374650" y="38100"/>
                </a:lnTo>
                <a:lnTo>
                  <a:pt x="368300" y="73025"/>
                </a:lnTo>
                <a:lnTo>
                  <a:pt x="371475" y="101600"/>
                </a:lnTo>
                <a:lnTo>
                  <a:pt x="454025" y="133350"/>
                </a:lnTo>
                <a:lnTo>
                  <a:pt x="450850" y="139700"/>
                </a:lnTo>
                <a:lnTo>
                  <a:pt x="447675" y="177800"/>
                </a:lnTo>
                <a:lnTo>
                  <a:pt x="438150" y="184150"/>
                </a:lnTo>
                <a:lnTo>
                  <a:pt x="422275" y="174625"/>
                </a:lnTo>
                <a:lnTo>
                  <a:pt x="412750" y="171450"/>
                </a:lnTo>
                <a:lnTo>
                  <a:pt x="409575" y="215900"/>
                </a:lnTo>
                <a:lnTo>
                  <a:pt x="381000" y="209550"/>
                </a:lnTo>
                <a:lnTo>
                  <a:pt x="320675" y="206375"/>
                </a:lnTo>
                <a:lnTo>
                  <a:pt x="295275" y="234950"/>
                </a:lnTo>
                <a:lnTo>
                  <a:pt x="288925" y="244475"/>
                </a:lnTo>
                <a:lnTo>
                  <a:pt x="269875" y="228600"/>
                </a:lnTo>
                <a:lnTo>
                  <a:pt x="244475" y="203200"/>
                </a:lnTo>
                <a:lnTo>
                  <a:pt x="247650" y="184150"/>
                </a:lnTo>
                <a:lnTo>
                  <a:pt x="219075" y="187325"/>
                </a:lnTo>
                <a:lnTo>
                  <a:pt x="212725" y="206375"/>
                </a:lnTo>
                <a:lnTo>
                  <a:pt x="193675" y="225425"/>
                </a:lnTo>
                <a:lnTo>
                  <a:pt x="180975" y="228600"/>
                </a:lnTo>
                <a:lnTo>
                  <a:pt x="177800" y="234950"/>
                </a:lnTo>
                <a:lnTo>
                  <a:pt x="161925" y="225425"/>
                </a:lnTo>
                <a:lnTo>
                  <a:pt x="152400" y="222250"/>
                </a:lnTo>
                <a:lnTo>
                  <a:pt x="98425" y="219075"/>
                </a:lnTo>
                <a:lnTo>
                  <a:pt x="88900" y="146050"/>
                </a:lnTo>
                <a:lnTo>
                  <a:pt x="28575" y="149225"/>
                </a:lnTo>
                <a:lnTo>
                  <a:pt x="0" y="171450"/>
                </a:lnTo>
                <a:lnTo>
                  <a:pt x="3175" y="168275"/>
                </a:lnTo>
                <a:lnTo>
                  <a:pt x="22225" y="136525"/>
                </a:lnTo>
                <a:lnTo>
                  <a:pt x="50800" y="98425"/>
                </a:lnTo>
                <a:lnTo>
                  <a:pt x="95250" y="53975"/>
                </a:lnTo>
                <a:lnTo>
                  <a:pt x="130175" y="28575"/>
                </a:lnTo>
                <a:lnTo>
                  <a:pt x="127000" y="9525"/>
                </a:lnTo>
                <a:lnTo>
                  <a:pt x="168275" y="15875"/>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69" name="Freeform 206">
            <a:extLst>
              <a:ext uri="{FF2B5EF4-FFF2-40B4-BE49-F238E27FC236}">
                <a16:creationId xmlns:a16="http://schemas.microsoft.com/office/drawing/2014/main" id="{204EE62B-0B68-E5C0-9BF5-191046CC92C2}"/>
              </a:ext>
            </a:extLst>
          </p:cNvPr>
          <p:cNvSpPr>
            <a:spLocks/>
          </p:cNvSpPr>
          <p:nvPr/>
        </p:nvSpPr>
        <p:spPr bwMode="auto">
          <a:xfrm>
            <a:off x="7598549" y="4298799"/>
            <a:ext cx="394185" cy="575717"/>
          </a:xfrm>
          <a:custGeom>
            <a:avLst/>
            <a:gdLst/>
            <a:ahLst/>
            <a:cxnLst>
              <a:cxn ang="0">
                <a:pos x="96" y="440"/>
              </a:cxn>
              <a:cxn ang="0">
                <a:pos x="60" y="444"/>
              </a:cxn>
              <a:cxn ang="0">
                <a:pos x="28" y="424"/>
              </a:cxn>
              <a:cxn ang="0">
                <a:pos x="0" y="394"/>
              </a:cxn>
              <a:cxn ang="0">
                <a:pos x="16" y="366"/>
              </a:cxn>
              <a:cxn ang="0">
                <a:pos x="34" y="314"/>
              </a:cxn>
              <a:cxn ang="0">
                <a:pos x="32" y="292"/>
              </a:cxn>
              <a:cxn ang="0">
                <a:pos x="22" y="288"/>
              </a:cxn>
              <a:cxn ang="0">
                <a:pos x="32" y="258"/>
              </a:cxn>
              <a:cxn ang="0">
                <a:pos x="4" y="254"/>
              </a:cxn>
              <a:cxn ang="0">
                <a:pos x="74" y="172"/>
              </a:cxn>
              <a:cxn ang="0">
                <a:pos x="136" y="74"/>
              </a:cxn>
              <a:cxn ang="0">
                <a:pos x="138" y="38"/>
              </a:cxn>
              <a:cxn ang="0">
                <a:pos x="156" y="2"/>
              </a:cxn>
              <a:cxn ang="0">
                <a:pos x="196" y="0"/>
              </a:cxn>
              <a:cxn ang="0">
                <a:pos x="192" y="14"/>
              </a:cxn>
              <a:cxn ang="0">
                <a:pos x="186" y="20"/>
              </a:cxn>
              <a:cxn ang="0">
                <a:pos x="196" y="30"/>
              </a:cxn>
              <a:cxn ang="0">
                <a:pos x="206" y="26"/>
              </a:cxn>
              <a:cxn ang="0">
                <a:pos x="218" y="30"/>
              </a:cxn>
              <a:cxn ang="0">
                <a:pos x="234" y="40"/>
              </a:cxn>
              <a:cxn ang="0">
                <a:pos x="286" y="56"/>
              </a:cxn>
              <a:cxn ang="0">
                <a:pos x="304" y="98"/>
              </a:cxn>
              <a:cxn ang="0">
                <a:pos x="276" y="116"/>
              </a:cxn>
              <a:cxn ang="0">
                <a:pos x="242" y="126"/>
              </a:cxn>
              <a:cxn ang="0">
                <a:pos x="246" y="144"/>
              </a:cxn>
              <a:cxn ang="0">
                <a:pos x="232" y="188"/>
              </a:cxn>
              <a:cxn ang="0">
                <a:pos x="214" y="192"/>
              </a:cxn>
              <a:cxn ang="0">
                <a:pos x="214" y="204"/>
              </a:cxn>
              <a:cxn ang="0">
                <a:pos x="196" y="238"/>
              </a:cxn>
              <a:cxn ang="0">
                <a:pos x="162" y="226"/>
              </a:cxn>
              <a:cxn ang="0">
                <a:pos x="164" y="254"/>
              </a:cxn>
              <a:cxn ang="0">
                <a:pos x="170" y="308"/>
              </a:cxn>
              <a:cxn ang="0">
                <a:pos x="136" y="334"/>
              </a:cxn>
              <a:cxn ang="0">
                <a:pos x="144" y="362"/>
              </a:cxn>
              <a:cxn ang="0">
                <a:pos x="156" y="364"/>
              </a:cxn>
              <a:cxn ang="0">
                <a:pos x="128" y="380"/>
              </a:cxn>
              <a:cxn ang="0">
                <a:pos x="98" y="406"/>
              </a:cxn>
              <a:cxn ang="0">
                <a:pos x="96" y="440"/>
              </a:cxn>
              <a:cxn ang="0">
                <a:pos x="96" y="440"/>
              </a:cxn>
            </a:cxnLst>
            <a:rect l="0" t="0" r="r" b="b"/>
            <a:pathLst>
              <a:path w="304" h="444">
                <a:moveTo>
                  <a:pt x="96" y="440"/>
                </a:moveTo>
                <a:lnTo>
                  <a:pt x="60" y="444"/>
                </a:lnTo>
                <a:lnTo>
                  <a:pt x="28" y="424"/>
                </a:lnTo>
                <a:lnTo>
                  <a:pt x="0" y="394"/>
                </a:lnTo>
                <a:lnTo>
                  <a:pt x="16" y="366"/>
                </a:lnTo>
                <a:lnTo>
                  <a:pt x="34" y="314"/>
                </a:lnTo>
                <a:lnTo>
                  <a:pt x="32" y="292"/>
                </a:lnTo>
                <a:lnTo>
                  <a:pt x="22" y="288"/>
                </a:lnTo>
                <a:lnTo>
                  <a:pt x="32" y="258"/>
                </a:lnTo>
                <a:lnTo>
                  <a:pt x="4" y="254"/>
                </a:lnTo>
                <a:lnTo>
                  <a:pt x="74" y="172"/>
                </a:lnTo>
                <a:lnTo>
                  <a:pt x="136" y="74"/>
                </a:lnTo>
                <a:lnTo>
                  <a:pt x="138" y="38"/>
                </a:lnTo>
                <a:lnTo>
                  <a:pt x="156" y="2"/>
                </a:lnTo>
                <a:lnTo>
                  <a:pt x="196" y="0"/>
                </a:lnTo>
                <a:lnTo>
                  <a:pt x="192" y="14"/>
                </a:lnTo>
                <a:lnTo>
                  <a:pt x="186" y="20"/>
                </a:lnTo>
                <a:lnTo>
                  <a:pt x="196" y="30"/>
                </a:lnTo>
                <a:lnTo>
                  <a:pt x="206" y="26"/>
                </a:lnTo>
                <a:lnTo>
                  <a:pt x="218" y="30"/>
                </a:lnTo>
                <a:lnTo>
                  <a:pt x="234" y="40"/>
                </a:lnTo>
                <a:lnTo>
                  <a:pt x="286" y="56"/>
                </a:lnTo>
                <a:lnTo>
                  <a:pt x="304" y="98"/>
                </a:lnTo>
                <a:lnTo>
                  <a:pt x="276" y="116"/>
                </a:lnTo>
                <a:lnTo>
                  <a:pt x="242" y="126"/>
                </a:lnTo>
                <a:lnTo>
                  <a:pt x="246" y="144"/>
                </a:lnTo>
                <a:lnTo>
                  <a:pt x="232" y="188"/>
                </a:lnTo>
                <a:lnTo>
                  <a:pt x="214" y="192"/>
                </a:lnTo>
                <a:lnTo>
                  <a:pt x="214" y="204"/>
                </a:lnTo>
                <a:lnTo>
                  <a:pt x="196" y="238"/>
                </a:lnTo>
                <a:lnTo>
                  <a:pt x="162" y="226"/>
                </a:lnTo>
                <a:lnTo>
                  <a:pt x="164" y="254"/>
                </a:lnTo>
                <a:lnTo>
                  <a:pt x="170" y="308"/>
                </a:lnTo>
                <a:lnTo>
                  <a:pt x="136" y="334"/>
                </a:lnTo>
                <a:lnTo>
                  <a:pt x="144" y="362"/>
                </a:lnTo>
                <a:lnTo>
                  <a:pt x="156" y="364"/>
                </a:lnTo>
                <a:lnTo>
                  <a:pt x="128" y="380"/>
                </a:lnTo>
                <a:lnTo>
                  <a:pt x="98" y="406"/>
                </a:lnTo>
                <a:lnTo>
                  <a:pt x="96" y="440"/>
                </a:lnTo>
                <a:lnTo>
                  <a:pt x="96" y="440"/>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0" name="Freeform 268">
            <a:extLst>
              <a:ext uri="{FF2B5EF4-FFF2-40B4-BE49-F238E27FC236}">
                <a16:creationId xmlns:a16="http://schemas.microsoft.com/office/drawing/2014/main" id="{C917BF97-5F45-E627-43E4-92C14C03A38A}"/>
              </a:ext>
            </a:extLst>
          </p:cNvPr>
          <p:cNvSpPr>
            <a:spLocks/>
          </p:cNvSpPr>
          <p:nvPr/>
        </p:nvSpPr>
        <p:spPr bwMode="auto">
          <a:xfrm>
            <a:off x="8661811" y="4843396"/>
            <a:ext cx="95953" cy="70020"/>
          </a:xfrm>
          <a:custGeom>
            <a:avLst/>
            <a:gdLst/>
            <a:ahLst/>
            <a:cxnLst>
              <a:cxn ang="0">
                <a:pos x="52" y="16"/>
              </a:cxn>
              <a:cxn ang="0">
                <a:pos x="58" y="0"/>
              </a:cxn>
              <a:cxn ang="0">
                <a:pos x="0" y="16"/>
              </a:cxn>
              <a:cxn ang="0">
                <a:pos x="0" y="30"/>
              </a:cxn>
              <a:cxn ang="0">
                <a:pos x="30" y="54"/>
              </a:cxn>
              <a:cxn ang="0">
                <a:pos x="52" y="54"/>
              </a:cxn>
              <a:cxn ang="0">
                <a:pos x="74" y="26"/>
              </a:cxn>
              <a:cxn ang="0">
                <a:pos x="60" y="20"/>
              </a:cxn>
              <a:cxn ang="0">
                <a:pos x="52" y="16"/>
              </a:cxn>
            </a:cxnLst>
            <a:rect l="0" t="0" r="r" b="b"/>
            <a:pathLst>
              <a:path w="74" h="54">
                <a:moveTo>
                  <a:pt x="52" y="16"/>
                </a:moveTo>
                <a:lnTo>
                  <a:pt x="58" y="0"/>
                </a:lnTo>
                <a:lnTo>
                  <a:pt x="0" y="16"/>
                </a:lnTo>
                <a:lnTo>
                  <a:pt x="0" y="30"/>
                </a:lnTo>
                <a:lnTo>
                  <a:pt x="30" y="54"/>
                </a:lnTo>
                <a:lnTo>
                  <a:pt x="52" y="54"/>
                </a:lnTo>
                <a:lnTo>
                  <a:pt x="74" y="26"/>
                </a:lnTo>
                <a:lnTo>
                  <a:pt x="60" y="20"/>
                </a:lnTo>
                <a:lnTo>
                  <a:pt x="52" y="16"/>
                </a:lnTo>
                <a:close/>
              </a:path>
            </a:pathLst>
          </a:custGeom>
          <a:solidFill>
            <a:srgbClr val="A5E1E1"/>
          </a:solidFill>
          <a:ln w="3175">
            <a:solidFill>
              <a:schemeClr val="bg1"/>
            </a:solidFill>
            <a:prstDash val="solid"/>
            <a:round/>
            <a:headEnd/>
            <a:tailEnd/>
          </a:ln>
        </p:spPr>
        <p:txBody>
          <a:bodyPr/>
          <a:lstStyle/>
          <a:p>
            <a:pPr defTabSz="913943">
              <a:defRPr/>
            </a:pPr>
            <a:endParaRPr lang="en-US" sz="1798">
              <a:solidFill>
                <a:srgbClr val="000000"/>
              </a:solidFill>
              <a:latin typeface="Arial"/>
            </a:endParaRPr>
          </a:p>
        </p:txBody>
      </p:sp>
      <p:sp>
        <p:nvSpPr>
          <p:cNvPr id="71" name="Freeform 269">
            <a:extLst>
              <a:ext uri="{FF2B5EF4-FFF2-40B4-BE49-F238E27FC236}">
                <a16:creationId xmlns:a16="http://schemas.microsoft.com/office/drawing/2014/main" id="{A09D7C83-012A-36C8-F573-0C893893B6C8}"/>
              </a:ext>
            </a:extLst>
          </p:cNvPr>
          <p:cNvSpPr>
            <a:spLocks/>
          </p:cNvSpPr>
          <p:nvPr/>
        </p:nvSpPr>
        <p:spPr bwMode="auto">
          <a:xfrm>
            <a:off x="8796663" y="4848583"/>
            <a:ext cx="33713" cy="28527"/>
          </a:xfrm>
          <a:custGeom>
            <a:avLst/>
            <a:gdLst/>
            <a:ahLst/>
            <a:cxnLst>
              <a:cxn ang="0">
                <a:pos x="0" y="0"/>
              </a:cxn>
              <a:cxn ang="0">
                <a:pos x="0" y="10"/>
              </a:cxn>
              <a:cxn ang="0">
                <a:pos x="22" y="22"/>
              </a:cxn>
              <a:cxn ang="0">
                <a:pos x="26" y="6"/>
              </a:cxn>
              <a:cxn ang="0">
                <a:pos x="8" y="0"/>
              </a:cxn>
              <a:cxn ang="0">
                <a:pos x="0" y="0"/>
              </a:cxn>
            </a:cxnLst>
            <a:rect l="0" t="0" r="r" b="b"/>
            <a:pathLst>
              <a:path w="26" h="22">
                <a:moveTo>
                  <a:pt x="0" y="0"/>
                </a:moveTo>
                <a:lnTo>
                  <a:pt x="0" y="10"/>
                </a:lnTo>
                <a:lnTo>
                  <a:pt x="22" y="22"/>
                </a:lnTo>
                <a:lnTo>
                  <a:pt x="26" y="6"/>
                </a:lnTo>
                <a:lnTo>
                  <a:pt x="8" y="0"/>
                </a:lnTo>
                <a:lnTo>
                  <a:pt x="0" y="0"/>
                </a:lnTo>
                <a:close/>
              </a:path>
            </a:pathLst>
          </a:custGeom>
          <a:solidFill>
            <a:srgbClr val="DFE6ED"/>
          </a:solidFill>
          <a:ln w="3175">
            <a:solidFill>
              <a:schemeClr val="bg1"/>
            </a:solidFill>
            <a:prstDash val="solid"/>
            <a:round/>
            <a:headEnd/>
            <a:tailEnd/>
          </a:ln>
        </p:spPr>
        <p:txBody>
          <a:bodyPr/>
          <a:lstStyle/>
          <a:p>
            <a:pPr defTabSz="913943">
              <a:defRPr/>
            </a:pPr>
            <a:endParaRPr lang="en-US" sz="1798">
              <a:solidFill>
                <a:srgbClr val="000000"/>
              </a:solidFill>
              <a:latin typeface="Arial"/>
            </a:endParaRPr>
          </a:p>
        </p:txBody>
      </p:sp>
      <p:sp>
        <p:nvSpPr>
          <p:cNvPr id="72" name="Freeform 296">
            <a:extLst>
              <a:ext uri="{FF2B5EF4-FFF2-40B4-BE49-F238E27FC236}">
                <a16:creationId xmlns:a16="http://schemas.microsoft.com/office/drawing/2014/main" id="{CDBE46CD-F2DD-7CE9-5FBA-7E99B849069B}"/>
              </a:ext>
            </a:extLst>
          </p:cNvPr>
          <p:cNvSpPr>
            <a:spLocks/>
          </p:cNvSpPr>
          <p:nvPr/>
        </p:nvSpPr>
        <p:spPr bwMode="auto">
          <a:xfrm>
            <a:off x="7723027" y="4132827"/>
            <a:ext cx="1081415" cy="943969"/>
          </a:xfrm>
          <a:custGeom>
            <a:avLst/>
            <a:gdLst/>
            <a:ahLst/>
            <a:cxnLst>
              <a:cxn ang="0">
                <a:pos x="740" y="304"/>
              </a:cxn>
              <a:cxn ang="0">
                <a:pos x="740" y="304"/>
              </a:cxn>
              <a:cxn ang="0">
                <a:pos x="726" y="308"/>
              </a:cxn>
              <a:cxn ang="0">
                <a:pos x="720" y="306"/>
              </a:cxn>
              <a:cxn ang="0">
                <a:pos x="720" y="302"/>
              </a:cxn>
              <a:cxn ang="0">
                <a:pos x="720" y="296"/>
              </a:cxn>
              <a:cxn ang="0">
                <a:pos x="724" y="292"/>
              </a:cxn>
              <a:cxn ang="0">
                <a:pos x="700" y="266"/>
              </a:cxn>
              <a:cxn ang="0">
                <a:pos x="678" y="264"/>
              </a:cxn>
              <a:cxn ang="0">
                <a:pos x="664" y="266"/>
              </a:cxn>
              <a:cxn ang="0">
                <a:pos x="652" y="264"/>
              </a:cxn>
              <a:cxn ang="0">
                <a:pos x="624" y="252"/>
              </a:cxn>
              <a:cxn ang="0">
                <a:pos x="536" y="166"/>
              </a:cxn>
              <a:cxn ang="0">
                <a:pos x="448" y="138"/>
              </a:cxn>
              <a:cxn ang="0">
                <a:pos x="414" y="116"/>
              </a:cxn>
              <a:cxn ang="0">
                <a:pos x="316" y="74"/>
              </a:cxn>
              <a:cxn ang="0">
                <a:pos x="206" y="32"/>
              </a:cxn>
              <a:cxn ang="0">
                <a:pos x="170" y="0"/>
              </a:cxn>
              <a:cxn ang="0">
                <a:pos x="102" y="14"/>
              </a:cxn>
              <a:cxn ang="0">
                <a:pos x="74" y="20"/>
              </a:cxn>
              <a:cxn ang="0">
                <a:pos x="70" y="94"/>
              </a:cxn>
              <a:cxn ang="0">
                <a:pos x="60" y="130"/>
              </a:cxn>
              <a:cxn ang="0">
                <a:pos x="96" y="142"/>
              </a:cxn>
              <a:cxn ang="0">
                <a:pos x="100" y="158"/>
              </a:cxn>
              <a:cxn ang="0">
                <a:pos x="122" y="158"/>
              </a:cxn>
              <a:cxn ang="0">
                <a:pos x="190" y="184"/>
              </a:cxn>
              <a:cxn ang="0">
                <a:pos x="180" y="244"/>
              </a:cxn>
              <a:cxn ang="0">
                <a:pos x="150" y="272"/>
              </a:cxn>
              <a:cxn ang="0">
                <a:pos x="118" y="320"/>
              </a:cxn>
              <a:cxn ang="0">
                <a:pos x="100" y="366"/>
              </a:cxn>
              <a:cxn ang="0">
                <a:pos x="68" y="382"/>
              </a:cxn>
              <a:cxn ang="0">
                <a:pos x="40" y="462"/>
              </a:cxn>
              <a:cxn ang="0">
                <a:pos x="60" y="492"/>
              </a:cxn>
              <a:cxn ang="0">
                <a:pos x="2" y="534"/>
              </a:cxn>
              <a:cxn ang="0">
                <a:pos x="40" y="588"/>
              </a:cxn>
              <a:cxn ang="0">
                <a:pos x="52" y="632"/>
              </a:cxn>
              <a:cxn ang="0">
                <a:pos x="82" y="708"/>
              </a:cxn>
              <a:cxn ang="0">
                <a:pos x="110" y="708"/>
              </a:cxn>
              <a:cxn ang="0">
                <a:pos x="166" y="694"/>
              </a:cxn>
              <a:cxn ang="0">
                <a:pos x="186" y="686"/>
              </a:cxn>
              <a:cxn ang="0">
                <a:pos x="294" y="712"/>
              </a:cxn>
              <a:cxn ang="0">
                <a:pos x="328" y="716"/>
              </a:cxn>
              <a:cxn ang="0">
                <a:pos x="356" y="728"/>
              </a:cxn>
              <a:cxn ang="0">
                <a:pos x="468" y="686"/>
              </a:cxn>
              <a:cxn ang="0">
                <a:pos x="492" y="632"/>
              </a:cxn>
              <a:cxn ang="0">
                <a:pos x="536" y="568"/>
              </a:cxn>
              <a:cxn ang="0">
                <a:pos x="576" y="490"/>
              </a:cxn>
              <a:cxn ang="0">
                <a:pos x="592" y="480"/>
              </a:cxn>
              <a:cxn ang="0">
                <a:pos x="646" y="444"/>
              </a:cxn>
              <a:cxn ang="0">
                <a:pos x="672" y="418"/>
              </a:cxn>
              <a:cxn ang="0">
                <a:pos x="802" y="392"/>
              </a:cxn>
              <a:cxn ang="0">
                <a:pos x="834" y="352"/>
              </a:cxn>
              <a:cxn ang="0">
                <a:pos x="810" y="326"/>
              </a:cxn>
            </a:cxnLst>
            <a:rect l="0" t="0" r="r" b="b"/>
            <a:pathLst>
              <a:path w="834" h="728">
                <a:moveTo>
                  <a:pt x="788" y="326"/>
                </a:moveTo>
                <a:lnTo>
                  <a:pt x="740" y="304"/>
                </a:lnTo>
                <a:lnTo>
                  <a:pt x="740" y="304"/>
                </a:lnTo>
                <a:lnTo>
                  <a:pt x="740" y="304"/>
                </a:lnTo>
                <a:lnTo>
                  <a:pt x="726" y="308"/>
                </a:lnTo>
                <a:lnTo>
                  <a:pt x="726" y="308"/>
                </a:lnTo>
                <a:lnTo>
                  <a:pt x="722" y="306"/>
                </a:lnTo>
                <a:lnTo>
                  <a:pt x="720" y="306"/>
                </a:lnTo>
                <a:lnTo>
                  <a:pt x="720" y="306"/>
                </a:lnTo>
                <a:lnTo>
                  <a:pt x="720" y="302"/>
                </a:lnTo>
                <a:lnTo>
                  <a:pt x="720" y="296"/>
                </a:lnTo>
                <a:lnTo>
                  <a:pt x="720" y="296"/>
                </a:lnTo>
                <a:lnTo>
                  <a:pt x="720" y="294"/>
                </a:lnTo>
                <a:lnTo>
                  <a:pt x="724" y="292"/>
                </a:lnTo>
                <a:lnTo>
                  <a:pt x="724" y="292"/>
                </a:lnTo>
                <a:lnTo>
                  <a:pt x="700" y="266"/>
                </a:lnTo>
                <a:lnTo>
                  <a:pt x="684" y="256"/>
                </a:lnTo>
                <a:lnTo>
                  <a:pt x="678" y="264"/>
                </a:lnTo>
                <a:lnTo>
                  <a:pt x="676" y="270"/>
                </a:lnTo>
                <a:lnTo>
                  <a:pt x="664" y="266"/>
                </a:lnTo>
                <a:lnTo>
                  <a:pt x="656" y="264"/>
                </a:lnTo>
                <a:lnTo>
                  <a:pt x="652" y="264"/>
                </a:lnTo>
                <a:lnTo>
                  <a:pt x="650" y="260"/>
                </a:lnTo>
                <a:lnTo>
                  <a:pt x="624" y="252"/>
                </a:lnTo>
                <a:lnTo>
                  <a:pt x="592" y="232"/>
                </a:lnTo>
                <a:lnTo>
                  <a:pt x="536" y="166"/>
                </a:lnTo>
                <a:lnTo>
                  <a:pt x="494" y="158"/>
                </a:lnTo>
                <a:lnTo>
                  <a:pt x="448" y="138"/>
                </a:lnTo>
                <a:lnTo>
                  <a:pt x="434" y="124"/>
                </a:lnTo>
                <a:lnTo>
                  <a:pt x="414" y="116"/>
                </a:lnTo>
                <a:lnTo>
                  <a:pt x="368" y="110"/>
                </a:lnTo>
                <a:lnTo>
                  <a:pt x="316" y="74"/>
                </a:lnTo>
                <a:lnTo>
                  <a:pt x="260" y="54"/>
                </a:lnTo>
                <a:lnTo>
                  <a:pt x="206" y="32"/>
                </a:lnTo>
                <a:lnTo>
                  <a:pt x="194" y="14"/>
                </a:lnTo>
                <a:lnTo>
                  <a:pt x="170" y="0"/>
                </a:lnTo>
                <a:lnTo>
                  <a:pt x="140" y="8"/>
                </a:lnTo>
                <a:lnTo>
                  <a:pt x="102" y="14"/>
                </a:lnTo>
                <a:lnTo>
                  <a:pt x="86" y="14"/>
                </a:lnTo>
                <a:lnTo>
                  <a:pt x="74" y="20"/>
                </a:lnTo>
                <a:lnTo>
                  <a:pt x="70" y="56"/>
                </a:lnTo>
                <a:lnTo>
                  <a:pt x="70" y="94"/>
                </a:lnTo>
                <a:lnTo>
                  <a:pt x="52" y="128"/>
                </a:lnTo>
                <a:lnTo>
                  <a:pt x="60" y="130"/>
                </a:lnTo>
                <a:lnTo>
                  <a:pt x="100" y="128"/>
                </a:lnTo>
                <a:lnTo>
                  <a:pt x="96" y="142"/>
                </a:lnTo>
                <a:lnTo>
                  <a:pt x="90" y="148"/>
                </a:lnTo>
                <a:lnTo>
                  <a:pt x="100" y="158"/>
                </a:lnTo>
                <a:lnTo>
                  <a:pt x="110" y="154"/>
                </a:lnTo>
                <a:lnTo>
                  <a:pt x="122" y="158"/>
                </a:lnTo>
                <a:lnTo>
                  <a:pt x="138" y="168"/>
                </a:lnTo>
                <a:lnTo>
                  <a:pt x="190" y="184"/>
                </a:lnTo>
                <a:lnTo>
                  <a:pt x="208" y="226"/>
                </a:lnTo>
                <a:lnTo>
                  <a:pt x="180" y="244"/>
                </a:lnTo>
                <a:lnTo>
                  <a:pt x="146" y="254"/>
                </a:lnTo>
                <a:lnTo>
                  <a:pt x="150" y="272"/>
                </a:lnTo>
                <a:lnTo>
                  <a:pt x="136" y="316"/>
                </a:lnTo>
                <a:lnTo>
                  <a:pt x="118" y="320"/>
                </a:lnTo>
                <a:lnTo>
                  <a:pt x="118" y="332"/>
                </a:lnTo>
                <a:lnTo>
                  <a:pt x="100" y="366"/>
                </a:lnTo>
                <a:lnTo>
                  <a:pt x="66" y="354"/>
                </a:lnTo>
                <a:lnTo>
                  <a:pt x="68" y="382"/>
                </a:lnTo>
                <a:lnTo>
                  <a:pt x="74" y="436"/>
                </a:lnTo>
                <a:lnTo>
                  <a:pt x="40" y="462"/>
                </a:lnTo>
                <a:lnTo>
                  <a:pt x="48" y="490"/>
                </a:lnTo>
                <a:lnTo>
                  <a:pt x="60" y="492"/>
                </a:lnTo>
                <a:lnTo>
                  <a:pt x="32" y="508"/>
                </a:lnTo>
                <a:lnTo>
                  <a:pt x="2" y="534"/>
                </a:lnTo>
                <a:lnTo>
                  <a:pt x="0" y="568"/>
                </a:lnTo>
                <a:lnTo>
                  <a:pt x="40" y="588"/>
                </a:lnTo>
                <a:lnTo>
                  <a:pt x="54" y="610"/>
                </a:lnTo>
                <a:lnTo>
                  <a:pt x="52" y="632"/>
                </a:lnTo>
                <a:lnTo>
                  <a:pt x="62" y="676"/>
                </a:lnTo>
                <a:lnTo>
                  <a:pt x="82" y="708"/>
                </a:lnTo>
                <a:lnTo>
                  <a:pt x="110" y="708"/>
                </a:lnTo>
                <a:lnTo>
                  <a:pt x="110" y="708"/>
                </a:lnTo>
                <a:lnTo>
                  <a:pt x="150" y="688"/>
                </a:lnTo>
                <a:lnTo>
                  <a:pt x="166" y="694"/>
                </a:lnTo>
                <a:lnTo>
                  <a:pt x="186" y="684"/>
                </a:lnTo>
                <a:lnTo>
                  <a:pt x="186" y="686"/>
                </a:lnTo>
                <a:lnTo>
                  <a:pt x="206" y="686"/>
                </a:lnTo>
                <a:lnTo>
                  <a:pt x="294" y="712"/>
                </a:lnTo>
                <a:lnTo>
                  <a:pt x="316" y="720"/>
                </a:lnTo>
                <a:lnTo>
                  <a:pt x="328" y="716"/>
                </a:lnTo>
                <a:lnTo>
                  <a:pt x="340" y="720"/>
                </a:lnTo>
                <a:lnTo>
                  <a:pt x="356" y="728"/>
                </a:lnTo>
                <a:lnTo>
                  <a:pt x="384" y="696"/>
                </a:lnTo>
                <a:lnTo>
                  <a:pt x="468" y="686"/>
                </a:lnTo>
                <a:lnTo>
                  <a:pt x="468" y="660"/>
                </a:lnTo>
                <a:lnTo>
                  <a:pt x="492" y="632"/>
                </a:lnTo>
                <a:lnTo>
                  <a:pt x="554" y="606"/>
                </a:lnTo>
                <a:lnTo>
                  <a:pt x="536" y="568"/>
                </a:lnTo>
                <a:lnTo>
                  <a:pt x="540" y="524"/>
                </a:lnTo>
                <a:lnTo>
                  <a:pt x="576" y="490"/>
                </a:lnTo>
                <a:lnTo>
                  <a:pt x="582" y="486"/>
                </a:lnTo>
                <a:lnTo>
                  <a:pt x="592" y="480"/>
                </a:lnTo>
                <a:lnTo>
                  <a:pt x="610" y="464"/>
                </a:lnTo>
                <a:lnTo>
                  <a:pt x="646" y="444"/>
                </a:lnTo>
                <a:lnTo>
                  <a:pt x="646" y="428"/>
                </a:lnTo>
                <a:lnTo>
                  <a:pt x="672" y="418"/>
                </a:lnTo>
                <a:lnTo>
                  <a:pt x="742" y="412"/>
                </a:lnTo>
                <a:lnTo>
                  <a:pt x="802" y="392"/>
                </a:lnTo>
                <a:lnTo>
                  <a:pt x="826" y="374"/>
                </a:lnTo>
                <a:lnTo>
                  <a:pt x="834" y="352"/>
                </a:lnTo>
                <a:lnTo>
                  <a:pt x="832" y="334"/>
                </a:lnTo>
                <a:lnTo>
                  <a:pt x="810" y="326"/>
                </a:lnTo>
                <a:lnTo>
                  <a:pt x="788" y="326"/>
                </a:lnTo>
                <a:close/>
              </a:path>
            </a:pathLst>
          </a:custGeom>
          <a:solidFill>
            <a:schemeClr val="accent1"/>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3" name="Freeform 301">
            <a:extLst>
              <a:ext uri="{FF2B5EF4-FFF2-40B4-BE49-F238E27FC236}">
                <a16:creationId xmlns:a16="http://schemas.microsoft.com/office/drawing/2014/main" id="{F287DE96-E4C3-C61D-6541-620E7D3245B4}"/>
              </a:ext>
            </a:extLst>
          </p:cNvPr>
          <p:cNvSpPr>
            <a:spLocks/>
          </p:cNvSpPr>
          <p:nvPr/>
        </p:nvSpPr>
        <p:spPr bwMode="auto">
          <a:xfrm>
            <a:off x="8656625" y="4506265"/>
            <a:ext cx="31119" cy="25933"/>
          </a:xfrm>
          <a:custGeom>
            <a:avLst/>
            <a:gdLst/>
            <a:ahLst/>
            <a:cxnLst>
              <a:cxn ang="0">
                <a:pos x="22" y="6"/>
              </a:cxn>
              <a:cxn ang="0">
                <a:pos x="12" y="0"/>
              </a:cxn>
              <a:cxn ang="0">
                <a:pos x="12" y="0"/>
              </a:cxn>
              <a:cxn ang="0">
                <a:pos x="8" y="0"/>
              </a:cxn>
              <a:cxn ang="0">
                <a:pos x="8" y="0"/>
              </a:cxn>
              <a:cxn ang="0">
                <a:pos x="4" y="4"/>
              </a:cxn>
              <a:cxn ang="0">
                <a:pos x="4" y="4"/>
              </a:cxn>
              <a:cxn ang="0">
                <a:pos x="0" y="6"/>
              </a:cxn>
              <a:cxn ang="0">
                <a:pos x="0" y="8"/>
              </a:cxn>
              <a:cxn ang="0">
                <a:pos x="0" y="8"/>
              </a:cxn>
              <a:cxn ang="0">
                <a:pos x="0" y="14"/>
              </a:cxn>
              <a:cxn ang="0">
                <a:pos x="0" y="18"/>
              </a:cxn>
              <a:cxn ang="0">
                <a:pos x="0" y="18"/>
              </a:cxn>
              <a:cxn ang="0">
                <a:pos x="2" y="18"/>
              </a:cxn>
              <a:cxn ang="0">
                <a:pos x="6" y="20"/>
              </a:cxn>
              <a:cxn ang="0">
                <a:pos x="6" y="20"/>
              </a:cxn>
              <a:cxn ang="0">
                <a:pos x="20" y="16"/>
              </a:cxn>
              <a:cxn ang="0">
                <a:pos x="20" y="16"/>
              </a:cxn>
              <a:cxn ang="0">
                <a:pos x="22" y="12"/>
              </a:cxn>
              <a:cxn ang="0">
                <a:pos x="24" y="6"/>
              </a:cxn>
              <a:cxn ang="0">
                <a:pos x="22" y="6"/>
              </a:cxn>
            </a:cxnLst>
            <a:rect l="0" t="0" r="r" b="b"/>
            <a:pathLst>
              <a:path w="24" h="20">
                <a:moveTo>
                  <a:pt x="22" y="6"/>
                </a:moveTo>
                <a:lnTo>
                  <a:pt x="12" y="0"/>
                </a:lnTo>
                <a:lnTo>
                  <a:pt x="12" y="0"/>
                </a:lnTo>
                <a:lnTo>
                  <a:pt x="8" y="0"/>
                </a:lnTo>
                <a:lnTo>
                  <a:pt x="8" y="0"/>
                </a:lnTo>
                <a:lnTo>
                  <a:pt x="4" y="4"/>
                </a:lnTo>
                <a:lnTo>
                  <a:pt x="4" y="4"/>
                </a:lnTo>
                <a:lnTo>
                  <a:pt x="0" y="6"/>
                </a:lnTo>
                <a:lnTo>
                  <a:pt x="0" y="8"/>
                </a:lnTo>
                <a:lnTo>
                  <a:pt x="0" y="8"/>
                </a:lnTo>
                <a:lnTo>
                  <a:pt x="0" y="14"/>
                </a:lnTo>
                <a:lnTo>
                  <a:pt x="0" y="18"/>
                </a:lnTo>
                <a:lnTo>
                  <a:pt x="0" y="18"/>
                </a:lnTo>
                <a:lnTo>
                  <a:pt x="2" y="18"/>
                </a:lnTo>
                <a:lnTo>
                  <a:pt x="6" y="20"/>
                </a:lnTo>
                <a:lnTo>
                  <a:pt x="6" y="20"/>
                </a:lnTo>
                <a:lnTo>
                  <a:pt x="20" y="16"/>
                </a:lnTo>
                <a:lnTo>
                  <a:pt x="20" y="16"/>
                </a:lnTo>
                <a:lnTo>
                  <a:pt x="22" y="12"/>
                </a:lnTo>
                <a:lnTo>
                  <a:pt x="24" y="6"/>
                </a:lnTo>
                <a:lnTo>
                  <a:pt x="22" y="6"/>
                </a:lnTo>
                <a:close/>
              </a:path>
            </a:pathLst>
          </a:custGeom>
          <a:solidFill>
            <a:srgbClr val="DFE6ED"/>
          </a:solidFill>
          <a:ln w="3175">
            <a:solidFill>
              <a:schemeClr val="bg1"/>
            </a:solidFill>
            <a:prstDash val="solid"/>
            <a:round/>
            <a:headEnd/>
            <a:tailEnd/>
          </a:ln>
        </p:spPr>
        <p:txBody>
          <a:bodyPr/>
          <a:lstStyle/>
          <a:p>
            <a:pPr defTabSz="913943">
              <a:defRPr/>
            </a:pPr>
            <a:endParaRPr lang="en-US" sz="1798">
              <a:solidFill>
                <a:srgbClr val="000000"/>
              </a:solidFill>
              <a:latin typeface="Arial"/>
            </a:endParaRPr>
          </a:p>
        </p:txBody>
      </p:sp>
      <p:sp>
        <p:nvSpPr>
          <p:cNvPr id="74" name="Freeform 193">
            <a:extLst>
              <a:ext uri="{FF2B5EF4-FFF2-40B4-BE49-F238E27FC236}">
                <a16:creationId xmlns:a16="http://schemas.microsoft.com/office/drawing/2014/main" id="{A7419690-C857-BEDD-C4E3-89EDE6FB80AE}"/>
              </a:ext>
            </a:extLst>
          </p:cNvPr>
          <p:cNvSpPr>
            <a:spLocks/>
          </p:cNvSpPr>
          <p:nvPr/>
        </p:nvSpPr>
        <p:spPr bwMode="auto">
          <a:xfrm>
            <a:off x="10137412" y="4298799"/>
            <a:ext cx="346208" cy="448645"/>
          </a:xfrm>
          <a:custGeom>
            <a:avLst/>
            <a:gdLst/>
            <a:ahLst/>
            <a:cxnLst>
              <a:cxn ang="0">
                <a:pos x="241" y="240"/>
              </a:cxn>
              <a:cxn ang="0">
                <a:pos x="243" y="170"/>
              </a:cxn>
              <a:cxn ang="0">
                <a:pos x="237" y="142"/>
              </a:cxn>
              <a:cxn ang="0">
                <a:pos x="231" y="128"/>
              </a:cxn>
              <a:cxn ang="0">
                <a:pos x="201" y="142"/>
              </a:cxn>
              <a:cxn ang="0">
                <a:pos x="183" y="134"/>
              </a:cxn>
              <a:cxn ang="0">
                <a:pos x="157" y="120"/>
              </a:cxn>
              <a:cxn ang="0">
                <a:pos x="157" y="86"/>
              </a:cxn>
              <a:cxn ang="0">
                <a:pos x="115" y="42"/>
              </a:cxn>
              <a:cxn ang="0">
                <a:pos x="69" y="0"/>
              </a:cxn>
              <a:cxn ang="0">
                <a:pos x="35" y="12"/>
              </a:cxn>
              <a:cxn ang="0">
                <a:pos x="0" y="22"/>
              </a:cxn>
              <a:cxn ang="0">
                <a:pos x="3" y="56"/>
              </a:cxn>
              <a:cxn ang="0">
                <a:pos x="11" y="116"/>
              </a:cxn>
              <a:cxn ang="0">
                <a:pos x="27" y="132"/>
              </a:cxn>
              <a:cxn ang="0">
                <a:pos x="17" y="146"/>
              </a:cxn>
              <a:cxn ang="0">
                <a:pos x="15" y="166"/>
              </a:cxn>
              <a:cxn ang="0">
                <a:pos x="43" y="186"/>
              </a:cxn>
              <a:cxn ang="0">
                <a:pos x="39" y="228"/>
              </a:cxn>
              <a:cxn ang="0">
                <a:pos x="31" y="246"/>
              </a:cxn>
              <a:cxn ang="0">
                <a:pos x="47" y="266"/>
              </a:cxn>
              <a:cxn ang="0">
                <a:pos x="65" y="274"/>
              </a:cxn>
              <a:cxn ang="0">
                <a:pos x="85" y="286"/>
              </a:cxn>
              <a:cxn ang="0">
                <a:pos x="93" y="296"/>
              </a:cxn>
              <a:cxn ang="0">
                <a:pos x="107" y="282"/>
              </a:cxn>
              <a:cxn ang="0">
                <a:pos x="115" y="274"/>
              </a:cxn>
              <a:cxn ang="0">
                <a:pos x="123" y="260"/>
              </a:cxn>
              <a:cxn ang="0">
                <a:pos x="145" y="272"/>
              </a:cxn>
              <a:cxn ang="0">
                <a:pos x="167" y="296"/>
              </a:cxn>
              <a:cxn ang="0">
                <a:pos x="177" y="306"/>
              </a:cxn>
              <a:cxn ang="0">
                <a:pos x="187" y="318"/>
              </a:cxn>
              <a:cxn ang="0">
                <a:pos x="177" y="336"/>
              </a:cxn>
              <a:cxn ang="0">
                <a:pos x="199" y="340"/>
              </a:cxn>
              <a:cxn ang="0">
                <a:pos x="257" y="288"/>
              </a:cxn>
              <a:cxn ang="0">
                <a:pos x="253" y="246"/>
              </a:cxn>
            </a:cxnLst>
            <a:rect l="0" t="0" r="r" b="b"/>
            <a:pathLst>
              <a:path w="267" h="346">
                <a:moveTo>
                  <a:pt x="253" y="246"/>
                </a:moveTo>
                <a:lnTo>
                  <a:pt x="241" y="240"/>
                </a:lnTo>
                <a:lnTo>
                  <a:pt x="227" y="218"/>
                </a:lnTo>
                <a:lnTo>
                  <a:pt x="243" y="170"/>
                </a:lnTo>
                <a:lnTo>
                  <a:pt x="229" y="148"/>
                </a:lnTo>
                <a:lnTo>
                  <a:pt x="237" y="142"/>
                </a:lnTo>
                <a:lnTo>
                  <a:pt x="245" y="144"/>
                </a:lnTo>
                <a:lnTo>
                  <a:pt x="231" y="128"/>
                </a:lnTo>
                <a:lnTo>
                  <a:pt x="215" y="138"/>
                </a:lnTo>
                <a:lnTo>
                  <a:pt x="201" y="142"/>
                </a:lnTo>
                <a:lnTo>
                  <a:pt x="195" y="134"/>
                </a:lnTo>
                <a:lnTo>
                  <a:pt x="183" y="134"/>
                </a:lnTo>
                <a:lnTo>
                  <a:pt x="173" y="128"/>
                </a:lnTo>
                <a:lnTo>
                  <a:pt x="157" y="120"/>
                </a:lnTo>
                <a:lnTo>
                  <a:pt x="159" y="104"/>
                </a:lnTo>
                <a:lnTo>
                  <a:pt x="157" y="86"/>
                </a:lnTo>
                <a:lnTo>
                  <a:pt x="129" y="68"/>
                </a:lnTo>
                <a:lnTo>
                  <a:pt x="115" y="42"/>
                </a:lnTo>
                <a:lnTo>
                  <a:pt x="87" y="6"/>
                </a:lnTo>
                <a:lnTo>
                  <a:pt x="69" y="0"/>
                </a:lnTo>
                <a:lnTo>
                  <a:pt x="45" y="0"/>
                </a:lnTo>
                <a:lnTo>
                  <a:pt x="35" y="12"/>
                </a:lnTo>
                <a:lnTo>
                  <a:pt x="11" y="18"/>
                </a:lnTo>
                <a:lnTo>
                  <a:pt x="0" y="22"/>
                </a:lnTo>
                <a:lnTo>
                  <a:pt x="0" y="28"/>
                </a:lnTo>
                <a:lnTo>
                  <a:pt x="3" y="56"/>
                </a:lnTo>
                <a:lnTo>
                  <a:pt x="35" y="84"/>
                </a:lnTo>
                <a:lnTo>
                  <a:pt x="11" y="116"/>
                </a:lnTo>
                <a:lnTo>
                  <a:pt x="31" y="114"/>
                </a:lnTo>
                <a:lnTo>
                  <a:pt x="27" y="132"/>
                </a:lnTo>
                <a:lnTo>
                  <a:pt x="19" y="144"/>
                </a:lnTo>
                <a:lnTo>
                  <a:pt x="17" y="146"/>
                </a:lnTo>
                <a:lnTo>
                  <a:pt x="15" y="162"/>
                </a:lnTo>
                <a:lnTo>
                  <a:pt x="15" y="166"/>
                </a:lnTo>
                <a:lnTo>
                  <a:pt x="23" y="170"/>
                </a:lnTo>
                <a:lnTo>
                  <a:pt x="43" y="186"/>
                </a:lnTo>
                <a:lnTo>
                  <a:pt x="23" y="198"/>
                </a:lnTo>
                <a:lnTo>
                  <a:pt x="39" y="228"/>
                </a:lnTo>
                <a:lnTo>
                  <a:pt x="25" y="240"/>
                </a:lnTo>
                <a:lnTo>
                  <a:pt x="31" y="246"/>
                </a:lnTo>
                <a:lnTo>
                  <a:pt x="39" y="254"/>
                </a:lnTo>
                <a:lnTo>
                  <a:pt x="47" y="266"/>
                </a:lnTo>
                <a:lnTo>
                  <a:pt x="57" y="266"/>
                </a:lnTo>
                <a:lnTo>
                  <a:pt x="65" y="274"/>
                </a:lnTo>
                <a:lnTo>
                  <a:pt x="75" y="280"/>
                </a:lnTo>
                <a:lnTo>
                  <a:pt x="85" y="286"/>
                </a:lnTo>
                <a:lnTo>
                  <a:pt x="91" y="288"/>
                </a:lnTo>
                <a:lnTo>
                  <a:pt x="93" y="296"/>
                </a:lnTo>
                <a:lnTo>
                  <a:pt x="107" y="292"/>
                </a:lnTo>
                <a:lnTo>
                  <a:pt x="107" y="282"/>
                </a:lnTo>
                <a:lnTo>
                  <a:pt x="111" y="282"/>
                </a:lnTo>
                <a:lnTo>
                  <a:pt x="115" y="274"/>
                </a:lnTo>
                <a:lnTo>
                  <a:pt x="115" y="266"/>
                </a:lnTo>
                <a:lnTo>
                  <a:pt x="123" y="260"/>
                </a:lnTo>
                <a:lnTo>
                  <a:pt x="133" y="266"/>
                </a:lnTo>
                <a:lnTo>
                  <a:pt x="145" y="272"/>
                </a:lnTo>
                <a:lnTo>
                  <a:pt x="155" y="288"/>
                </a:lnTo>
                <a:lnTo>
                  <a:pt x="167" y="296"/>
                </a:lnTo>
                <a:lnTo>
                  <a:pt x="169" y="304"/>
                </a:lnTo>
                <a:lnTo>
                  <a:pt x="177" y="306"/>
                </a:lnTo>
                <a:lnTo>
                  <a:pt x="187" y="310"/>
                </a:lnTo>
                <a:lnTo>
                  <a:pt x="187" y="318"/>
                </a:lnTo>
                <a:lnTo>
                  <a:pt x="183" y="326"/>
                </a:lnTo>
                <a:lnTo>
                  <a:pt x="177" y="336"/>
                </a:lnTo>
                <a:lnTo>
                  <a:pt x="177" y="346"/>
                </a:lnTo>
                <a:lnTo>
                  <a:pt x="199" y="340"/>
                </a:lnTo>
                <a:lnTo>
                  <a:pt x="227" y="340"/>
                </a:lnTo>
                <a:lnTo>
                  <a:pt x="257" y="288"/>
                </a:lnTo>
                <a:lnTo>
                  <a:pt x="267" y="264"/>
                </a:lnTo>
                <a:lnTo>
                  <a:pt x="253" y="24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5" name="Freeform 194">
            <a:extLst>
              <a:ext uri="{FF2B5EF4-FFF2-40B4-BE49-F238E27FC236}">
                <a16:creationId xmlns:a16="http://schemas.microsoft.com/office/drawing/2014/main" id="{7113EB62-6033-D827-C1F6-8DE717A77343}"/>
              </a:ext>
            </a:extLst>
          </p:cNvPr>
          <p:cNvSpPr>
            <a:spLocks/>
          </p:cNvSpPr>
          <p:nvPr/>
        </p:nvSpPr>
        <p:spPr bwMode="auto">
          <a:xfrm>
            <a:off x="10098512" y="4609997"/>
            <a:ext cx="159489" cy="186721"/>
          </a:xfrm>
          <a:custGeom>
            <a:avLst/>
            <a:gdLst/>
            <a:ahLst/>
            <a:cxnLst>
              <a:cxn ang="0">
                <a:pos x="101" y="66"/>
              </a:cxn>
              <a:cxn ang="0">
                <a:pos x="105" y="64"/>
              </a:cxn>
              <a:cxn ang="0">
                <a:pos x="111" y="64"/>
              </a:cxn>
              <a:cxn ang="0">
                <a:pos x="117" y="60"/>
              </a:cxn>
              <a:cxn ang="0">
                <a:pos x="123" y="56"/>
              </a:cxn>
              <a:cxn ang="0">
                <a:pos x="121" y="48"/>
              </a:cxn>
              <a:cxn ang="0">
                <a:pos x="115" y="46"/>
              </a:cxn>
              <a:cxn ang="0">
                <a:pos x="105" y="40"/>
              </a:cxn>
              <a:cxn ang="0">
                <a:pos x="95" y="34"/>
              </a:cxn>
              <a:cxn ang="0">
                <a:pos x="87" y="26"/>
              </a:cxn>
              <a:cxn ang="0">
                <a:pos x="77" y="26"/>
              </a:cxn>
              <a:cxn ang="0">
                <a:pos x="69" y="14"/>
              </a:cxn>
              <a:cxn ang="0">
                <a:pos x="61" y="6"/>
              </a:cxn>
              <a:cxn ang="0">
                <a:pos x="55" y="0"/>
              </a:cxn>
              <a:cxn ang="0">
                <a:pos x="55" y="2"/>
              </a:cxn>
              <a:cxn ang="0">
                <a:pos x="39" y="20"/>
              </a:cxn>
              <a:cxn ang="0">
                <a:pos x="26" y="10"/>
              </a:cxn>
              <a:cxn ang="0">
                <a:pos x="4" y="42"/>
              </a:cxn>
              <a:cxn ang="0">
                <a:pos x="0" y="80"/>
              </a:cxn>
              <a:cxn ang="0">
                <a:pos x="2" y="90"/>
              </a:cxn>
              <a:cxn ang="0">
                <a:pos x="10" y="92"/>
              </a:cxn>
              <a:cxn ang="0">
                <a:pos x="10" y="98"/>
              </a:cxn>
              <a:cxn ang="0">
                <a:pos x="28" y="116"/>
              </a:cxn>
              <a:cxn ang="0">
                <a:pos x="59" y="144"/>
              </a:cxn>
              <a:cxn ang="0">
                <a:pos x="61" y="130"/>
              </a:cxn>
              <a:cxn ang="0">
                <a:pos x="55" y="112"/>
              </a:cxn>
              <a:cxn ang="0">
                <a:pos x="71" y="88"/>
              </a:cxn>
              <a:cxn ang="0">
                <a:pos x="105" y="80"/>
              </a:cxn>
              <a:cxn ang="0">
                <a:pos x="105" y="72"/>
              </a:cxn>
              <a:cxn ang="0">
                <a:pos x="101" y="66"/>
              </a:cxn>
            </a:cxnLst>
            <a:rect l="0" t="0" r="r" b="b"/>
            <a:pathLst>
              <a:path w="123" h="144">
                <a:moveTo>
                  <a:pt x="101" y="66"/>
                </a:moveTo>
                <a:lnTo>
                  <a:pt x="105" y="64"/>
                </a:lnTo>
                <a:lnTo>
                  <a:pt x="111" y="64"/>
                </a:lnTo>
                <a:lnTo>
                  <a:pt x="117" y="60"/>
                </a:lnTo>
                <a:lnTo>
                  <a:pt x="123" y="56"/>
                </a:lnTo>
                <a:lnTo>
                  <a:pt x="121" y="48"/>
                </a:lnTo>
                <a:lnTo>
                  <a:pt x="115" y="46"/>
                </a:lnTo>
                <a:lnTo>
                  <a:pt x="105" y="40"/>
                </a:lnTo>
                <a:lnTo>
                  <a:pt x="95" y="34"/>
                </a:lnTo>
                <a:lnTo>
                  <a:pt x="87" y="26"/>
                </a:lnTo>
                <a:lnTo>
                  <a:pt x="77" y="26"/>
                </a:lnTo>
                <a:lnTo>
                  <a:pt x="69" y="14"/>
                </a:lnTo>
                <a:lnTo>
                  <a:pt x="61" y="6"/>
                </a:lnTo>
                <a:lnTo>
                  <a:pt x="55" y="0"/>
                </a:lnTo>
                <a:lnTo>
                  <a:pt x="55" y="2"/>
                </a:lnTo>
                <a:lnTo>
                  <a:pt x="39" y="20"/>
                </a:lnTo>
                <a:lnTo>
                  <a:pt x="26" y="10"/>
                </a:lnTo>
                <a:lnTo>
                  <a:pt x="4" y="42"/>
                </a:lnTo>
                <a:lnTo>
                  <a:pt x="0" y="80"/>
                </a:lnTo>
                <a:lnTo>
                  <a:pt x="2" y="90"/>
                </a:lnTo>
                <a:lnTo>
                  <a:pt x="10" y="92"/>
                </a:lnTo>
                <a:lnTo>
                  <a:pt x="10" y="98"/>
                </a:lnTo>
                <a:lnTo>
                  <a:pt x="28" y="116"/>
                </a:lnTo>
                <a:lnTo>
                  <a:pt x="59" y="144"/>
                </a:lnTo>
                <a:lnTo>
                  <a:pt x="61" y="130"/>
                </a:lnTo>
                <a:lnTo>
                  <a:pt x="55" y="112"/>
                </a:lnTo>
                <a:lnTo>
                  <a:pt x="71" y="88"/>
                </a:lnTo>
                <a:lnTo>
                  <a:pt x="105" y="80"/>
                </a:lnTo>
                <a:lnTo>
                  <a:pt x="105" y="72"/>
                </a:lnTo>
                <a:lnTo>
                  <a:pt x="101" y="66"/>
                </a:lnTo>
                <a:close/>
              </a:path>
            </a:pathLst>
          </a:custGeom>
          <a:solidFill>
            <a:srgbClr val="DFE6ED"/>
          </a:solidFill>
          <a:ln w="3175">
            <a:solidFill>
              <a:schemeClr val="bg1"/>
            </a:solidFill>
            <a:prstDash val="solid"/>
            <a:round/>
            <a:headEnd/>
            <a:tailEnd/>
          </a:ln>
        </p:spPr>
        <p:txBody>
          <a:bodyPr/>
          <a:lstStyle/>
          <a:p>
            <a:pPr defTabSz="913943">
              <a:defRPr/>
            </a:pPr>
            <a:endParaRPr lang="en-US" sz="1798">
              <a:solidFill>
                <a:srgbClr val="000000"/>
              </a:solidFill>
              <a:latin typeface="Arial"/>
            </a:endParaRPr>
          </a:p>
        </p:txBody>
      </p:sp>
      <p:sp>
        <p:nvSpPr>
          <p:cNvPr id="76" name="Freeform 195">
            <a:extLst>
              <a:ext uri="{FF2B5EF4-FFF2-40B4-BE49-F238E27FC236}">
                <a16:creationId xmlns:a16="http://schemas.microsoft.com/office/drawing/2014/main" id="{AF572662-F189-0F8A-7B95-EF2FB4BEE67C}"/>
              </a:ext>
            </a:extLst>
          </p:cNvPr>
          <p:cNvSpPr>
            <a:spLocks/>
          </p:cNvSpPr>
          <p:nvPr/>
        </p:nvSpPr>
        <p:spPr bwMode="auto">
          <a:xfrm>
            <a:off x="10229474" y="4635931"/>
            <a:ext cx="150414" cy="158192"/>
          </a:xfrm>
          <a:custGeom>
            <a:avLst/>
            <a:gdLst/>
            <a:ahLst/>
            <a:cxnLst>
              <a:cxn ang="0">
                <a:pos x="112" y="66"/>
              </a:cxn>
              <a:cxn ang="0">
                <a:pos x="116" y="58"/>
              </a:cxn>
              <a:cxn ang="0">
                <a:pos x="116" y="50"/>
              </a:cxn>
              <a:cxn ang="0">
                <a:pos x="106" y="46"/>
              </a:cxn>
              <a:cxn ang="0">
                <a:pos x="98" y="44"/>
              </a:cxn>
              <a:cxn ang="0">
                <a:pos x="96" y="36"/>
              </a:cxn>
              <a:cxn ang="0">
                <a:pos x="84" y="28"/>
              </a:cxn>
              <a:cxn ang="0">
                <a:pos x="74" y="12"/>
              </a:cxn>
              <a:cxn ang="0">
                <a:pos x="62" y="6"/>
              </a:cxn>
              <a:cxn ang="0">
                <a:pos x="52" y="0"/>
              </a:cxn>
              <a:cxn ang="0">
                <a:pos x="44" y="6"/>
              </a:cxn>
              <a:cxn ang="0">
                <a:pos x="44" y="14"/>
              </a:cxn>
              <a:cxn ang="0">
                <a:pos x="40" y="22"/>
              </a:cxn>
              <a:cxn ang="0">
                <a:pos x="36" y="22"/>
              </a:cxn>
              <a:cxn ang="0">
                <a:pos x="36" y="32"/>
              </a:cxn>
              <a:cxn ang="0">
                <a:pos x="22" y="36"/>
              </a:cxn>
              <a:cxn ang="0">
                <a:pos x="16" y="40"/>
              </a:cxn>
              <a:cxn ang="0">
                <a:pos x="10" y="44"/>
              </a:cxn>
              <a:cxn ang="0">
                <a:pos x="4" y="44"/>
              </a:cxn>
              <a:cxn ang="0">
                <a:pos x="0" y="46"/>
              </a:cxn>
              <a:cxn ang="0">
                <a:pos x="4" y="52"/>
              </a:cxn>
              <a:cxn ang="0">
                <a:pos x="4" y="60"/>
              </a:cxn>
              <a:cxn ang="0">
                <a:pos x="32" y="88"/>
              </a:cxn>
              <a:cxn ang="0">
                <a:pos x="40" y="122"/>
              </a:cxn>
              <a:cxn ang="0">
                <a:pos x="70" y="102"/>
              </a:cxn>
              <a:cxn ang="0">
                <a:pos x="100" y="88"/>
              </a:cxn>
              <a:cxn ang="0">
                <a:pos x="106" y="86"/>
              </a:cxn>
              <a:cxn ang="0">
                <a:pos x="106" y="76"/>
              </a:cxn>
              <a:cxn ang="0">
                <a:pos x="112" y="66"/>
              </a:cxn>
            </a:cxnLst>
            <a:rect l="0" t="0" r="r" b="b"/>
            <a:pathLst>
              <a:path w="116" h="122">
                <a:moveTo>
                  <a:pt x="112" y="66"/>
                </a:moveTo>
                <a:lnTo>
                  <a:pt x="116" y="58"/>
                </a:lnTo>
                <a:lnTo>
                  <a:pt x="116" y="50"/>
                </a:lnTo>
                <a:lnTo>
                  <a:pt x="106" y="46"/>
                </a:lnTo>
                <a:lnTo>
                  <a:pt x="98" y="44"/>
                </a:lnTo>
                <a:lnTo>
                  <a:pt x="96" y="36"/>
                </a:lnTo>
                <a:lnTo>
                  <a:pt x="84" y="28"/>
                </a:lnTo>
                <a:lnTo>
                  <a:pt x="74" y="12"/>
                </a:lnTo>
                <a:lnTo>
                  <a:pt x="62" y="6"/>
                </a:lnTo>
                <a:lnTo>
                  <a:pt x="52" y="0"/>
                </a:lnTo>
                <a:lnTo>
                  <a:pt x="44" y="6"/>
                </a:lnTo>
                <a:lnTo>
                  <a:pt x="44" y="14"/>
                </a:lnTo>
                <a:lnTo>
                  <a:pt x="40" y="22"/>
                </a:lnTo>
                <a:lnTo>
                  <a:pt x="36" y="22"/>
                </a:lnTo>
                <a:lnTo>
                  <a:pt x="36" y="32"/>
                </a:lnTo>
                <a:lnTo>
                  <a:pt x="22" y="36"/>
                </a:lnTo>
                <a:lnTo>
                  <a:pt x="16" y="40"/>
                </a:lnTo>
                <a:lnTo>
                  <a:pt x="10" y="44"/>
                </a:lnTo>
                <a:lnTo>
                  <a:pt x="4" y="44"/>
                </a:lnTo>
                <a:lnTo>
                  <a:pt x="0" y="46"/>
                </a:lnTo>
                <a:lnTo>
                  <a:pt x="4" y="52"/>
                </a:lnTo>
                <a:lnTo>
                  <a:pt x="4" y="60"/>
                </a:lnTo>
                <a:lnTo>
                  <a:pt x="32" y="88"/>
                </a:lnTo>
                <a:lnTo>
                  <a:pt x="40" y="122"/>
                </a:lnTo>
                <a:lnTo>
                  <a:pt x="70" y="102"/>
                </a:lnTo>
                <a:lnTo>
                  <a:pt x="100" y="88"/>
                </a:lnTo>
                <a:lnTo>
                  <a:pt x="106" y="86"/>
                </a:lnTo>
                <a:lnTo>
                  <a:pt x="106" y="76"/>
                </a:lnTo>
                <a:lnTo>
                  <a:pt x="112" y="6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7" name="Freeform 196">
            <a:extLst>
              <a:ext uri="{FF2B5EF4-FFF2-40B4-BE49-F238E27FC236}">
                <a16:creationId xmlns:a16="http://schemas.microsoft.com/office/drawing/2014/main" id="{8E220E71-BF55-EC5E-859E-4D464E3CE202}"/>
              </a:ext>
            </a:extLst>
          </p:cNvPr>
          <p:cNvSpPr>
            <a:spLocks/>
          </p:cNvSpPr>
          <p:nvPr/>
        </p:nvSpPr>
        <p:spPr bwMode="auto">
          <a:xfrm>
            <a:off x="10167235" y="4713729"/>
            <a:ext cx="153006" cy="331945"/>
          </a:xfrm>
          <a:custGeom>
            <a:avLst/>
            <a:gdLst/>
            <a:ahLst/>
            <a:cxnLst>
              <a:cxn ang="0">
                <a:pos x="88" y="62"/>
              </a:cxn>
              <a:cxn ang="0">
                <a:pos x="80" y="28"/>
              </a:cxn>
              <a:cxn ang="0">
                <a:pos x="52" y="0"/>
              </a:cxn>
              <a:cxn ang="0">
                <a:pos x="18" y="8"/>
              </a:cxn>
              <a:cxn ang="0">
                <a:pos x="2" y="32"/>
              </a:cxn>
              <a:cxn ang="0">
                <a:pos x="8" y="50"/>
              </a:cxn>
              <a:cxn ang="0">
                <a:pos x="6" y="64"/>
              </a:cxn>
              <a:cxn ang="0">
                <a:pos x="18" y="88"/>
              </a:cxn>
              <a:cxn ang="0">
                <a:pos x="0" y="190"/>
              </a:cxn>
              <a:cxn ang="0">
                <a:pos x="14" y="210"/>
              </a:cxn>
              <a:cxn ang="0">
                <a:pos x="38" y="224"/>
              </a:cxn>
              <a:cxn ang="0">
                <a:pos x="50" y="256"/>
              </a:cxn>
              <a:cxn ang="0">
                <a:pos x="74" y="248"/>
              </a:cxn>
              <a:cxn ang="0">
                <a:pos x="92" y="220"/>
              </a:cxn>
              <a:cxn ang="0">
                <a:pos x="118" y="180"/>
              </a:cxn>
              <a:cxn ang="0">
                <a:pos x="116" y="152"/>
              </a:cxn>
              <a:cxn ang="0">
                <a:pos x="90" y="134"/>
              </a:cxn>
              <a:cxn ang="0">
                <a:pos x="80" y="96"/>
              </a:cxn>
              <a:cxn ang="0">
                <a:pos x="80" y="90"/>
              </a:cxn>
              <a:cxn ang="0">
                <a:pos x="84" y="80"/>
              </a:cxn>
              <a:cxn ang="0">
                <a:pos x="88" y="62"/>
              </a:cxn>
            </a:cxnLst>
            <a:rect l="0" t="0" r="r" b="b"/>
            <a:pathLst>
              <a:path w="118" h="256">
                <a:moveTo>
                  <a:pt x="88" y="62"/>
                </a:moveTo>
                <a:lnTo>
                  <a:pt x="80" y="28"/>
                </a:lnTo>
                <a:lnTo>
                  <a:pt x="52" y="0"/>
                </a:lnTo>
                <a:lnTo>
                  <a:pt x="18" y="8"/>
                </a:lnTo>
                <a:lnTo>
                  <a:pt x="2" y="32"/>
                </a:lnTo>
                <a:lnTo>
                  <a:pt x="8" y="50"/>
                </a:lnTo>
                <a:lnTo>
                  <a:pt x="6" y="64"/>
                </a:lnTo>
                <a:lnTo>
                  <a:pt x="18" y="88"/>
                </a:lnTo>
                <a:lnTo>
                  <a:pt x="0" y="190"/>
                </a:lnTo>
                <a:lnTo>
                  <a:pt x="14" y="210"/>
                </a:lnTo>
                <a:lnTo>
                  <a:pt x="38" y="224"/>
                </a:lnTo>
                <a:lnTo>
                  <a:pt x="50" y="256"/>
                </a:lnTo>
                <a:lnTo>
                  <a:pt x="74" y="248"/>
                </a:lnTo>
                <a:lnTo>
                  <a:pt x="92" y="220"/>
                </a:lnTo>
                <a:lnTo>
                  <a:pt x="118" y="180"/>
                </a:lnTo>
                <a:lnTo>
                  <a:pt x="116" y="152"/>
                </a:lnTo>
                <a:lnTo>
                  <a:pt x="90" y="134"/>
                </a:lnTo>
                <a:lnTo>
                  <a:pt x="80" y="96"/>
                </a:lnTo>
                <a:lnTo>
                  <a:pt x="80" y="90"/>
                </a:lnTo>
                <a:lnTo>
                  <a:pt x="84" y="80"/>
                </a:lnTo>
                <a:lnTo>
                  <a:pt x="88" y="62"/>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8" name="Freeform 204">
            <a:extLst>
              <a:ext uri="{FF2B5EF4-FFF2-40B4-BE49-F238E27FC236}">
                <a16:creationId xmlns:a16="http://schemas.microsoft.com/office/drawing/2014/main" id="{1C9AE899-9EB6-F5E1-21EE-B980C1029FE8}"/>
              </a:ext>
            </a:extLst>
          </p:cNvPr>
          <p:cNvSpPr>
            <a:spLocks/>
          </p:cNvSpPr>
          <p:nvPr/>
        </p:nvSpPr>
        <p:spPr bwMode="auto">
          <a:xfrm>
            <a:off x="9709512" y="4210627"/>
            <a:ext cx="251553" cy="163380"/>
          </a:xfrm>
          <a:custGeom>
            <a:avLst/>
            <a:gdLst/>
            <a:ahLst/>
            <a:cxnLst>
              <a:cxn ang="0">
                <a:pos x="158" y="18"/>
              </a:cxn>
              <a:cxn ang="0">
                <a:pos x="136" y="14"/>
              </a:cxn>
              <a:cxn ang="0">
                <a:pos x="128" y="20"/>
              </a:cxn>
              <a:cxn ang="0">
                <a:pos x="122" y="18"/>
              </a:cxn>
              <a:cxn ang="0">
                <a:pos x="94" y="20"/>
              </a:cxn>
              <a:cxn ang="0">
                <a:pos x="92" y="16"/>
              </a:cxn>
              <a:cxn ang="0">
                <a:pos x="58" y="34"/>
              </a:cxn>
              <a:cxn ang="0">
                <a:pos x="16" y="20"/>
              </a:cxn>
              <a:cxn ang="0">
                <a:pos x="0" y="46"/>
              </a:cxn>
              <a:cxn ang="0">
                <a:pos x="4" y="82"/>
              </a:cxn>
              <a:cxn ang="0">
                <a:pos x="10" y="86"/>
              </a:cxn>
              <a:cxn ang="0">
                <a:pos x="20" y="98"/>
              </a:cxn>
              <a:cxn ang="0">
                <a:pos x="10" y="104"/>
              </a:cxn>
              <a:cxn ang="0">
                <a:pos x="10" y="108"/>
              </a:cxn>
              <a:cxn ang="0">
                <a:pos x="46" y="116"/>
              </a:cxn>
              <a:cxn ang="0">
                <a:pos x="98" y="126"/>
              </a:cxn>
              <a:cxn ang="0">
                <a:pos x="108" y="116"/>
              </a:cxn>
              <a:cxn ang="0">
                <a:pos x="128" y="78"/>
              </a:cxn>
              <a:cxn ang="0">
                <a:pos x="144" y="56"/>
              </a:cxn>
              <a:cxn ang="0">
                <a:pos x="160" y="42"/>
              </a:cxn>
              <a:cxn ang="0">
                <a:pos x="166" y="42"/>
              </a:cxn>
              <a:cxn ang="0">
                <a:pos x="174" y="32"/>
              </a:cxn>
              <a:cxn ang="0">
                <a:pos x="194" y="38"/>
              </a:cxn>
              <a:cxn ang="0">
                <a:pos x="166" y="0"/>
              </a:cxn>
              <a:cxn ang="0">
                <a:pos x="158" y="18"/>
              </a:cxn>
            </a:cxnLst>
            <a:rect l="0" t="0" r="r" b="b"/>
            <a:pathLst>
              <a:path w="194" h="126">
                <a:moveTo>
                  <a:pt x="158" y="18"/>
                </a:moveTo>
                <a:lnTo>
                  <a:pt x="136" y="14"/>
                </a:lnTo>
                <a:lnTo>
                  <a:pt x="128" y="20"/>
                </a:lnTo>
                <a:lnTo>
                  <a:pt x="122" y="18"/>
                </a:lnTo>
                <a:lnTo>
                  <a:pt x="94" y="20"/>
                </a:lnTo>
                <a:lnTo>
                  <a:pt x="92" y="16"/>
                </a:lnTo>
                <a:lnTo>
                  <a:pt x="58" y="34"/>
                </a:lnTo>
                <a:lnTo>
                  <a:pt x="16" y="20"/>
                </a:lnTo>
                <a:lnTo>
                  <a:pt x="0" y="46"/>
                </a:lnTo>
                <a:lnTo>
                  <a:pt x="4" y="82"/>
                </a:lnTo>
                <a:lnTo>
                  <a:pt x="10" y="86"/>
                </a:lnTo>
                <a:lnTo>
                  <a:pt x="20" y="98"/>
                </a:lnTo>
                <a:lnTo>
                  <a:pt x="10" y="104"/>
                </a:lnTo>
                <a:lnTo>
                  <a:pt x="10" y="108"/>
                </a:lnTo>
                <a:lnTo>
                  <a:pt x="46" y="116"/>
                </a:lnTo>
                <a:lnTo>
                  <a:pt x="98" y="126"/>
                </a:lnTo>
                <a:lnTo>
                  <a:pt x="108" y="116"/>
                </a:lnTo>
                <a:lnTo>
                  <a:pt x="128" y="78"/>
                </a:lnTo>
                <a:lnTo>
                  <a:pt x="144" y="56"/>
                </a:lnTo>
                <a:lnTo>
                  <a:pt x="160" y="42"/>
                </a:lnTo>
                <a:lnTo>
                  <a:pt x="166" y="42"/>
                </a:lnTo>
                <a:lnTo>
                  <a:pt x="174" y="32"/>
                </a:lnTo>
                <a:lnTo>
                  <a:pt x="194" y="38"/>
                </a:lnTo>
                <a:lnTo>
                  <a:pt x="166" y="0"/>
                </a:lnTo>
                <a:lnTo>
                  <a:pt x="158" y="18"/>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79" name="Freeform 274">
            <a:extLst>
              <a:ext uri="{FF2B5EF4-FFF2-40B4-BE49-F238E27FC236}">
                <a16:creationId xmlns:a16="http://schemas.microsoft.com/office/drawing/2014/main" id="{5F157D8F-B9B1-A074-2FBB-080B0B62B2B6}"/>
              </a:ext>
            </a:extLst>
          </p:cNvPr>
          <p:cNvSpPr>
            <a:spLocks/>
          </p:cNvSpPr>
          <p:nvPr/>
        </p:nvSpPr>
        <p:spPr bwMode="auto">
          <a:xfrm>
            <a:off x="9712108" y="4252121"/>
            <a:ext cx="470688" cy="427898"/>
          </a:xfrm>
          <a:custGeom>
            <a:avLst/>
            <a:gdLst/>
            <a:ahLst/>
            <a:cxnLst>
              <a:cxn ang="0">
                <a:pos x="240" y="54"/>
              </a:cxn>
              <a:cxn ang="0">
                <a:pos x="212" y="26"/>
              </a:cxn>
              <a:cxn ang="0">
                <a:pos x="208" y="22"/>
              </a:cxn>
              <a:cxn ang="0">
                <a:pos x="192" y="6"/>
              </a:cxn>
              <a:cxn ang="0">
                <a:pos x="172" y="0"/>
              </a:cxn>
              <a:cxn ang="0">
                <a:pos x="164" y="10"/>
              </a:cxn>
              <a:cxn ang="0">
                <a:pos x="158" y="10"/>
              </a:cxn>
              <a:cxn ang="0">
                <a:pos x="142" y="24"/>
              </a:cxn>
              <a:cxn ang="0">
                <a:pos x="126" y="46"/>
              </a:cxn>
              <a:cxn ang="0">
                <a:pos x="106" y="84"/>
              </a:cxn>
              <a:cxn ang="0">
                <a:pos x="96" y="94"/>
              </a:cxn>
              <a:cxn ang="0">
                <a:pos x="44" y="84"/>
              </a:cxn>
              <a:cxn ang="0">
                <a:pos x="8" y="76"/>
              </a:cxn>
              <a:cxn ang="0">
                <a:pos x="0" y="118"/>
              </a:cxn>
              <a:cxn ang="0">
                <a:pos x="12" y="140"/>
              </a:cxn>
              <a:cxn ang="0">
                <a:pos x="26" y="134"/>
              </a:cxn>
              <a:cxn ang="0">
                <a:pos x="40" y="102"/>
              </a:cxn>
              <a:cxn ang="0">
                <a:pos x="66" y="110"/>
              </a:cxn>
              <a:cxn ang="0">
                <a:pos x="76" y="142"/>
              </a:cxn>
              <a:cxn ang="0">
                <a:pos x="82" y="182"/>
              </a:cxn>
              <a:cxn ang="0">
                <a:pos x="100" y="218"/>
              </a:cxn>
              <a:cxn ang="0">
                <a:pos x="152" y="266"/>
              </a:cxn>
              <a:cxn ang="0">
                <a:pos x="246" y="326"/>
              </a:cxn>
              <a:cxn ang="0">
                <a:pos x="250" y="330"/>
              </a:cxn>
              <a:cxn ang="0">
                <a:pos x="246" y="310"/>
              </a:cxn>
              <a:cxn ang="0">
                <a:pos x="230" y="290"/>
              </a:cxn>
              <a:cxn ang="0">
                <a:pos x="206" y="262"/>
              </a:cxn>
              <a:cxn ang="0">
                <a:pos x="154" y="180"/>
              </a:cxn>
              <a:cxn ang="0">
                <a:pos x="142" y="158"/>
              </a:cxn>
              <a:cxn ang="0">
                <a:pos x="134" y="120"/>
              </a:cxn>
              <a:cxn ang="0">
                <a:pos x="148" y="114"/>
              </a:cxn>
              <a:cxn ang="0">
                <a:pos x="166" y="136"/>
              </a:cxn>
              <a:cxn ang="0">
                <a:pos x="206" y="112"/>
              </a:cxn>
              <a:cxn ang="0">
                <a:pos x="230" y="126"/>
              </a:cxn>
              <a:cxn ang="0">
                <a:pos x="272" y="132"/>
              </a:cxn>
              <a:cxn ang="0">
                <a:pos x="310" y="132"/>
              </a:cxn>
              <a:cxn ang="0">
                <a:pos x="339" y="152"/>
              </a:cxn>
              <a:cxn ang="0">
                <a:pos x="363" y="120"/>
              </a:cxn>
              <a:cxn ang="0">
                <a:pos x="331" y="92"/>
              </a:cxn>
              <a:cxn ang="0">
                <a:pos x="328" y="64"/>
              </a:cxn>
              <a:cxn ang="0">
                <a:pos x="328" y="58"/>
              </a:cxn>
              <a:cxn ang="0">
                <a:pos x="292" y="72"/>
              </a:cxn>
              <a:cxn ang="0">
                <a:pos x="240" y="54"/>
              </a:cxn>
            </a:cxnLst>
            <a:rect l="0" t="0" r="r" b="b"/>
            <a:pathLst>
              <a:path w="363" h="330">
                <a:moveTo>
                  <a:pt x="240" y="54"/>
                </a:moveTo>
                <a:lnTo>
                  <a:pt x="212" y="26"/>
                </a:lnTo>
                <a:lnTo>
                  <a:pt x="208" y="22"/>
                </a:lnTo>
                <a:lnTo>
                  <a:pt x="192" y="6"/>
                </a:lnTo>
                <a:lnTo>
                  <a:pt x="172" y="0"/>
                </a:lnTo>
                <a:lnTo>
                  <a:pt x="164" y="10"/>
                </a:lnTo>
                <a:lnTo>
                  <a:pt x="158" y="10"/>
                </a:lnTo>
                <a:lnTo>
                  <a:pt x="142" y="24"/>
                </a:lnTo>
                <a:lnTo>
                  <a:pt x="126" y="46"/>
                </a:lnTo>
                <a:lnTo>
                  <a:pt x="106" y="84"/>
                </a:lnTo>
                <a:lnTo>
                  <a:pt x="96" y="94"/>
                </a:lnTo>
                <a:lnTo>
                  <a:pt x="44" y="84"/>
                </a:lnTo>
                <a:lnTo>
                  <a:pt x="8" y="76"/>
                </a:lnTo>
                <a:lnTo>
                  <a:pt x="0" y="118"/>
                </a:lnTo>
                <a:lnTo>
                  <a:pt x="12" y="140"/>
                </a:lnTo>
                <a:lnTo>
                  <a:pt x="26" y="134"/>
                </a:lnTo>
                <a:lnTo>
                  <a:pt x="40" y="102"/>
                </a:lnTo>
                <a:lnTo>
                  <a:pt x="66" y="110"/>
                </a:lnTo>
                <a:lnTo>
                  <a:pt x="76" y="142"/>
                </a:lnTo>
                <a:lnTo>
                  <a:pt x="82" y="182"/>
                </a:lnTo>
                <a:lnTo>
                  <a:pt x="100" y="218"/>
                </a:lnTo>
                <a:lnTo>
                  <a:pt x="152" y="266"/>
                </a:lnTo>
                <a:lnTo>
                  <a:pt x="246" y="326"/>
                </a:lnTo>
                <a:lnTo>
                  <a:pt x="250" y="330"/>
                </a:lnTo>
                <a:lnTo>
                  <a:pt x="246" y="310"/>
                </a:lnTo>
                <a:lnTo>
                  <a:pt x="230" y="290"/>
                </a:lnTo>
                <a:lnTo>
                  <a:pt x="206" y="262"/>
                </a:lnTo>
                <a:lnTo>
                  <a:pt x="154" y="180"/>
                </a:lnTo>
                <a:lnTo>
                  <a:pt x="142" y="158"/>
                </a:lnTo>
                <a:lnTo>
                  <a:pt x="134" y="120"/>
                </a:lnTo>
                <a:lnTo>
                  <a:pt x="148" y="114"/>
                </a:lnTo>
                <a:lnTo>
                  <a:pt x="166" y="136"/>
                </a:lnTo>
                <a:lnTo>
                  <a:pt x="206" y="112"/>
                </a:lnTo>
                <a:lnTo>
                  <a:pt x="230" y="126"/>
                </a:lnTo>
                <a:lnTo>
                  <a:pt x="272" y="132"/>
                </a:lnTo>
                <a:lnTo>
                  <a:pt x="310" y="132"/>
                </a:lnTo>
                <a:lnTo>
                  <a:pt x="339" y="152"/>
                </a:lnTo>
                <a:lnTo>
                  <a:pt x="363" y="120"/>
                </a:lnTo>
                <a:lnTo>
                  <a:pt x="331" y="92"/>
                </a:lnTo>
                <a:lnTo>
                  <a:pt x="328" y="64"/>
                </a:lnTo>
                <a:lnTo>
                  <a:pt x="328" y="58"/>
                </a:lnTo>
                <a:lnTo>
                  <a:pt x="292" y="72"/>
                </a:lnTo>
                <a:lnTo>
                  <a:pt x="240" y="54"/>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80" name="Freeform 276">
            <a:extLst>
              <a:ext uri="{FF2B5EF4-FFF2-40B4-BE49-F238E27FC236}">
                <a16:creationId xmlns:a16="http://schemas.microsoft.com/office/drawing/2014/main" id="{B4108C96-D883-6557-3E3F-277612EB4340}"/>
              </a:ext>
            </a:extLst>
          </p:cNvPr>
          <p:cNvSpPr>
            <a:spLocks/>
          </p:cNvSpPr>
          <p:nvPr/>
        </p:nvSpPr>
        <p:spPr bwMode="auto">
          <a:xfrm>
            <a:off x="9885858" y="4397347"/>
            <a:ext cx="307307" cy="316386"/>
          </a:xfrm>
          <a:custGeom>
            <a:avLst/>
            <a:gdLst/>
            <a:ahLst/>
            <a:cxnLst>
              <a:cxn ang="0">
                <a:pos x="138" y="20"/>
              </a:cxn>
              <a:cxn ang="0">
                <a:pos x="96" y="14"/>
              </a:cxn>
              <a:cxn ang="0">
                <a:pos x="72" y="0"/>
              </a:cxn>
              <a:cxn ang="0">
                <a:pos x="32" y="24"/>
              </a:cxn>
              <a:cxn ang="0">
                <a:pos x="14" y="2"/>
              </a:cxn>
              <a:cxn ang="0">
                <a:pos x="0" y="8"/>
              </a:cxn>
              <a:cxn ang="0">
                <a:pos x="8" y="46"/>
              </a:cxn>
              <a:cxn ang="0">
                <a:pos x="20" y="68"/>
              </a:cxn>
              <a:cxn ang="0">
                <a:pos x="72" y="150"/>
              </a:cxn>
              <a:cxn ang="0">
                <a:pos x="96" y="178"/>
              </a:cxn>
              <a:cxn ang="0">
                <a:pos x="112" y="198"/>
              </a:cxn>
              <a:cxn ang="0">
                <a:pos x="116" y="218"/>
              </a:cxn>
              <a:cxn ang="0">
                <a:pos x="164" y="244"/>
              </a:cxn>
              <a:cxn ang="0">
                <a:pos x="168" y="206"/>
              </a:cxn>
              <a:cxn ang="0">
                <a:pos x="190" y="174"/>
              </a:cxn>
              <a:cxn ang="0">
                <a:pos x="203" y="184"/>
              </a:cxn>
              <a:cxn ang="0">
                <a:pos x="219" y="166"/>
              </a:cxn>
              <a:cxn ang="0">
                <a:pos x="233" y="152"/>
              </a:cxn>
              <a:cxn ang="0">
                <a:pos x="217" y="122"/>
              </a:cxn>
              <a:cxn ang="0">
                <a:pos x="237" y="110"/>
              </a:cxn>
              <a:cxn ang="0">
                <a:pos x="217" y="94"/>
              </a:cxn>
              <a:cxn ang="0">
                <a:pos x="209" y="90"/>
              </a:cxn>
              <a:cxn ang="0">
                <a:pos x="209" y="86"/>
              </a:cxn>
              <a:cxn ang="0">
                <a:pos x="211" y="70"/>
              </a:cxn>
              <a:cxn ang="0">
                <a:pos x="213" y="68"/>
              </a:cxn>
              <a:cxn ang="0">
                <a:pos x="221" y="56"/>
              </a:cxn>
              <a:cxn ang="0">
                <a:pos x="225" y="38"/>
              </a:cxn>
              <a:cxn ang="0">
                <a:pos x="205" y="40"/>
              </a:cxn>
              <a:cxn ang="0">
                <a:pos x="176" y="20"/>
              </a:cxn>
              <a:cxn ang="0">
                <a:pos x="138" y="20"/>
              </a:cxn>
            </a:cxnLst>
            <a:rect l="0" t="0" r="r" b="b"/>
            <a:pathLst>
              <a:path w="237" h="244">
                <a:moveTo>
                  <a:pt x="138" y="20"/>
                </a:moveTo>
                <a:lnTo>
                  <a:pt x="96" y="14"/>
                </a:lnTo>
                <a:lnTo>
                  <a:pt x="72" y="0"/>
                </a:lnTo>
                <a:lnTo>
                  <a:pt x="32" y="24"/>
                </a:lnTo>
                <a:lnTo>
                  <a:pt x="14" y="2"/>
                </a:lnTo>
                <a:lnTo>
                  <a:pt x="0" y="8"/>
                </a:lnTo>
                <a:lnTo>
                  <a:pt x="8" y="46"/>
                </a:lnTo>
                <a:lnTo>
                  <a:pt x="20" y="68"/>
                </a:lnTo>
                <a:lnTo>
                  <a:pt x="72" y="150"/>
                </a:lnTo>
                <a:lnTo>
                  <a:pt x="96" y="178"/>
                </a:lnTo>
                <a:lnTo>
                  <a:pt x="112" y="198"/>
                </a:lnTo>
                <a:lnTo>
                  <a:pt x="116" y="218"/>
                </a:lnTo>
                <a:lnTo>
                  <a:pt x="164" y="244"/>
                </a:lnTo>
                <a:lnTo>
                  <a:pt x="168" y="206"/>
                </a:lnTo>
                <a:lnTo>
                  <a:pt x="190" y="174"/>
                </a:lnTo>
                <a:lnTo>
                  <a:pt x="203" y="184"/>
                </a:lnTo>
                <a:lnTo>
                  <a:pt x="219" y="166"/>
                </a:lnTo>
                <a:lnTo>
                  <a:pt x="233" y="152"/>
                </a:lnTo>
                <a:lnTo>
                  <a:pt x="217" y="122"/>
                </a:lnTo>
                <a:lnTo>
                  <a:pt x="237" y="110"/>
                </a:lnTo>
                <a:lnTo>
                  <a:pt x="217" y="94"/>
                </a:lnTo>
                <a:lnTo>
                  <a:pt x="209" y="90"/>
                </a:lnTo>
                <a:lnTo>
                  <a:pt x="209" y="86"/>
                </a:lnTo>
                <a:lnTo>
                  <a:pt x="211" y="70"/>
                </a:lnTo>
                <a:lnTo>
                  <a:pt x="213" y="68"/>
                </a:lnTo>
                <a:lnTo>
                  <a:pt x="221" y="56"/>
                </a:lnTo>
                <a:lnTo>
                  <a:pt x="225" y="38"/>
                </a:lnTo>
                <a:lnTo>
                  <a:pt x="205" y="40"/>
                </a:lnTo>
                <a:lnTo>
                  <a:pt x="176" y="20"/>
                </a:lnTo>
                <a:lnTo>
                  <a:pt x="138" y="20"/>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81" name="Freeform 277">
            <a:extLst>
              <a:ext uri="{FF2B5EF4-FFF2-40B4-BE49-F238E27FC236}">
                <a16:creationId xmlns:a16="http://schemas.microsoft.com/office/drawing/2014/main" id="{726F60A9-AA53-D61F-EF82-D60686E7A0EE}"/>
              </a:ext>
            </a:extLst>
          </p:cNvPr>
          <p:cNvSpPr>
            <a:spLocks/>
          </p:cNvSpPr>
          <p:nvPr/>
        </p:nvSpPr>
        <p:spPr bwMode="auto">
          <a:xfrm>
            <a:off x="10270967" y="4739664"/>
            <a:ext cx="220433" cy="171160"/>
          </a:xfrm>
          <a:custGeom>
            <a:avLst/>
            <a:gdLst/>
            <a:ahLst/>
            <a:cxnLst>
              <a:cxn ang="0">
                <a:pos x="170" y="54"/>
              </a:cxn>
              <a:cxn ang="0">
                <a:pos x="168" y="48"/>
              </a:cxn>
              <a:cxn ang="0">
                <a:pos x="152" y="24"/>
              </a:cxn>
              <a:cxn ang="0">
                <a:pos x="124" y="0"/>
              </a:cxn>
              <a:cxn ang="0">
                <a:pos x="96" y="0"/>
              </a:cxn>
              <a:cxn ang="0">
                <a:pos x="68" y="8"/>
              </a:cxn>
              <a:cxn ang="0">
                <a:pos x="38" y="22"/>
              </a:cxn>
              <a:cxn ang="0">
                <a:pos x="8" y="42"/>
              </a:cxn>
              <a:cxn ang="0">
                <a:pos x="4" y="60"/>
              </a:cxn>
              <a:cxn ang="0">
                <a:pos x="0" y="70"/>
              </a:cxn>
              <a:cxn ang="0">
                <a:pos x="0" y="76"/>
              </a:cxn>
              <a:cxn ang="0">
                <a:pos x="10" y="114"/>
              </a:cxn>
              <a:cxn ang="0">
                <a:pos x="36" y="132"/>
              </a:cxn>
              <a:cxn ang="0">
                <a:pos x="88" y="124"/>
              </a:cxn>
              <a:cxn ang="0">
                <a:pos x="96" y="114"/>
              </a:cxn>
              <a:cxn ang="0">
                <a:pos x="98" y="110"/>
              </a:cxn>
              <a:cxn ang="0">
                <a:pos x="120" y="102"/>
              </a:cxn>
              <a:cxn ang="0">
                <a:pos x="136" y="106"/>
              </a:cxn>
              <a:cxn ang="0">
                <a:pos x="148" y="104"/>
              </a:cxn>
              <a:cxn ang="0">
                <a:pos x="154" y="90"/>
              </a:cxn>
              <a:cxn ang="0">
                <a:pos x="166" y="86"/>
              </a:cxn>
              <a:cxn ang="0">
                <a:pos x="166" y="62"/>
              </a:cxn>
              <a:cxn ang="0">
                <a:pos x="170" y="54"/>
              </a:cxn>
            </a:cxnLst>
            <a:rect l="0" t="0" r="r" b="b"/>
            <a:pathLst>
              <a:path w="170" h="132">
                <a:moveTo>
                  <a:pt x="170" y="54"/>
                </a:moveTo>
                <a:lnTo>
                  <a:pt x="168" y="48"/>
                </a:lnTo>
                <a:lnTo>
                  <a:pt x="152" y="24"/>
                </a:lnTo>
                <a:lnTo>
                  <a:pt x="124" y="0"/>
                </a:lnTo>
                <a:lnTo>
                  <a:pt x="96" y="0"/>
                </a:lnTo>
                <a:lnTo>
                  <a:pt x="68" y="8"/>
                </a:lnTo>
                <a:lnTo>
                  <a:pt x="38" y="22"/>
                </a:lnTo>
                <a:lnTo>
                  <a:pt x="8" y="42"/>
                </a:lnTo>
                <a:lnTo>
                  <a:pt x="4" y="60"/>
                </a:lnTo>
                <a:lnTo>
                  <a:pt x="0" y="70"/>
                </a:lnTo>
                <a:lnTo>
                  <a:pt x="0" y="76"/>
                </a:lnTo>
                <a:lnTo>
                  <a:pt x="10" y="114"/>
                </a:lnTo>
                <a:lnTo>
                  <a:pt x="36" y="132"/>
                </a:lnTo>
                <a:lnTo>
                  <a:pt x="88" y="124"/>
                </a:lnTo>
                <a:lnTo>
                  <a:pt x="96" y="114"/>
                </a:lnTo>
                <a:lnTo>
                  <a:pt x="98" y="110"/>
                </a:lnTo>
                <a:lnTo>
                  <a:pt x="120" y="102"/>
                </a:lnTo>
                <a:lnTo>
                  <a:pt x="136" y="106"/>
                </a:lnTo>
                <a:lnTo>
                  <a:pt x="148" y="104"/>
                </a:lnTo>
                <a:lnTo>
                  <a:pt x="154" y="90"/>
                </a:lnTo>
                <a:lnTo>
                  <a:pt x="166" y="86"/>
                </a:lnTo>
                <a:lnTo>
                  <a:pt x="166" y="62"/>
                </a:lnTo>
                <a:lnTo>
                  <a:pt x="170" y="54"/>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82" name="Freeform 278">
            <a:extLst>
              <a:ext uri="{FF2B5EF4-FFF2-40B4-BE49-F238E27FC236}">
                <a16:creationId xmlns:a16="http://schemas.microsoft.com/office/drawing/2014/main" id="{6A8BE7C3-8339-B942-05BB-4D8B1D9AED16}"/>
              </a:ext>
            </a:extLst>
          </p:cNvPr>
          <p:cNvSpPr>
            <a:spLocks/>
          </p:cNvSpPr>
          <p:nvPr/>
        </p:nvSpPr>
        <p:spPr bwMode="auto">
          <a:xfrm>
            <a:off x="10431751" y="4503675"/>
            <a:ext cx="516071" cy="347505"/>
          </a:xfrm>
          <a:custGeom>
            <a:avLst/>
            <a:gdLst/>
            <a:ahLst/>
            <a:cxnLst>
              <a:cxn ang="0">
                <a:pos x="340" y="16"/>
              </a:cxn>
              <a:cxn ang="0">
                <a:pos x="312" y="0"/>
              </a:cxn>
              <a:cxn ang="0">
                <a:pos x="270" y="12"/>
              </a:cxn>
              <a:cxn ang="0">
                <a:pos x="238" y="22"/>
              </a:cxn>
              <a:cxn ang="0">
                <a:pos x="204" y="54"/>
              </a:cxn>
              <a:cxn ang="0">
                <a:pos x="156" y="50"/>
              </a:cxn>
              <a:cxn ang="0">
                <a:pos x="132" y="50"/>
              </a:cxn>
              <a:cxn ang="0">
                <a:pos x="90" y="48"/>
              </a:cxn>
              <a:cxn ang="0">
                <a:pos x="70" y="44"/>
              </a:cxn>
              <a:cxn ang="0">
                <a:pos x="56" y="44"/>
              </a:cxn>
              <a:cxn ang="0">
                <a:pos x="16" y="12"/>
              </a:cxn>
              <a:cxn ang="0">
                <a:pos x="0" y="60"/>
              </a:cxn>
              <a:cxn ang="0">
                <a:pos x="14" y="82"/>
              </a:cxn>
              <a:cxn ang="0">
                <a:pos x="26" y="88"/>
              </a:cxn>
              <a:cxn ang="0">
                <a:pos x="40" y="106"/>
              </a:cxn>
              <a:cxn ang="0">
                <a:pos x="30" y="130"/>
              </a:cxn>
              <a:cxn ang="0">
                <a:pos x="0" y="182"/>
              </a:cxn>
              <a:cxn ang="0">
                <a:pos x="28" y="206"/>
              </a:cxn>
              <a:cxn ang="0">
                <a:pos x="44" y="230"/>
              </a:cxn>
              <a:cxn ang="0">
                <a:pos x="46" y="236"/>
              </a:cxn>
              <a:cxn ang="0">
                <a:pos x="42" y="244"/>
              </a:cxn>
              <a:cxn ang="0">
                <a:pos x="42" y="268"/>
              </a:cxn>
              <a:cxn ang="0">
                <a:pos x="106" y="254"/>
              </a:cxn>
              <a:cxn ang="0">
                <a:pos x="130" y="244"/>
              </a:cxn>
              <a:cxn ang="0">
                <a:pos x="158" y="250"/>
              </a:cxn>
              <a:cxn ang="0">
                <a:pos x="190" y="260"/>
              </a:cxn>
              <a:cxn ang="0">
                <a:pos x="200" y="268"/>
              </a:cxn>
              <a:cxn ang="0">
                <a:pos x="214" y="264"/>
              </a:cxn>
              <a:cxn ang="0">
                <a:pos x="250" y="256"/>
              </a:cxn>
              <a:cxn ang="0">
                <a:pos x="260" y="218"/>
              </a:cxn>
              <a:cxn ang="0">
                <a:pos x="270" y="220"/>
              </a:cxn>
              <a:cxn ang="0">
                <a:pos x="312" y="184"/>
              </a:cxn>
              <a:cxn ang="0">
                <a:pos x="378" y="186"/>
              </a:cxn>
              <a:cxn ang="0">
                <a:pos x="354" y="150"/>
              </a:cxn>
              <a:cxn ang="0">
                <a:pos x="362" y="84"/>
              </a:cxn>
              <a:cxn ang="0">
                <a:pos x="382" y="58"/>
              </a:cxn>
              <a:cxn ang="0">
                <a:pos x="394" y="48"/>
              </a:cxn>
              <a:cxn ang="0">
                <a:pos x="398" y="26"/>
              </a:cxn>
              <a:cxn ang="0">
                <a:pos x="382" y="26"/>
              </a:cxn>
              <a:cxn ang="0">
                <a:pos x="340" y="16"/>
              </a:cxn>
            </a:cxnLst>
            <a:rect l="0" t="0" r="r" b="b"/>
            <a:pathLst>
              <a:path w="398" h="268">
                <a:moveTo>
                  <a:pt x="340" y="16"/>
                </a:moveTo>
                <a:lnTo>
                  <a:pt x="312" y="0"/>
                </a:lnTo>
                <a:lnTo>
                  <a:pt x="270" y="12"/>
                </a:lnTo>
                <a:lnTo>
                  <a:pt x="238" y="22"/>
                </a:lnTo>
                <a:lnTo>
                  <a:pt x="204" y="54"/>
                </a:lnTo>
                <a:lnTo>
                  <a:pt x="156" y="50"/>
                </a:lnTo>
                <a:lnTo>
                  <a:pt x="132" y="50"/>
                </a:lnTo>
                <a:lnTo>
                  <a:pt x="90" y="48"/>
                </a:lnTo>
                <a:lnTo>
                  <a:pt x="70" y="44"/>
                </a:lnTo>
                <a:lnTo>
                  <a:pt x="56" y="44"/>
                </a:lnTo>
                <a:lnTo>
                  <a:pt x="16" y="12"/>
                </a:lnTo>
                <a:lnTo>
                  <a:pt x="0" y="60"/>
                </a:lnTo>
                <a:lnTo>
                  <a:pt x="14" y="82"/>
                </a:lnTo>
                <a:lnTo>
                  <a:pt x="26" y="88"/>
                </a:lnTo>
                <a:lnTo>
                  <a:pt x="40" y="106"/>
                </a:lnTo>
                <a:lnTo>
                  <a:pt x="30" y="130"/>
                </a:lnTo>
                <a:lnTo>
                  <a:pt x="0" y="182"/>
                </a:lnTo>
                <a:lnTo>
                  <a:pt x="28" y="206"/>
                </a:lnTo>
                <a:lnTo>
                  <a:pt x="44" y="230"/>
                </a:lnTo>
                <a:lnTo>
                  <a:pt x="46" y="236"/>
                </a:lnTo>
                <a:lnTo>
                  <a:pt x="42" y="244"/>
                </a:lnTo>
                <a:lnTo>
                  <a:pt x="42" y="268"/>
                </a:lnTo>
                <a:lnTo>
                  <a:pt x="106" y="254"/>
                </a:lnTo>
                <a:lnTo>
                  <a:pt x="130" y="244"/>
                </a:lnTo>
                <a:lnTo>
                  <a:pt x="158" y="250"/>
                </a:lnTo>
                <a:lnTo>
                  <a:pt x="190" y="260"/>
                </a:lnTo>
                <a:lnTo>
                  <a:pt x="200" y="268"/>
                </a:lnTo>
                <a:lnTo>
                  <a:pt x="214" y="264"/>
                </a:lnTo>
                <a:lnTo>
                  <a:pt x="250" y="256"/>
                </a:lnTo>
                <a:lnTo>
                  <a:pt x="260" y="218"/>
                </a:lnTo>
                <a:lnTo>
                  <a:pt x="270" y="220"/>
                </a:lnTo>
                <a:lnTo>
                  <a:pt x="312" y="184"/>
                </a:lnTo>
                <a:lnTo>
                  <a:pt x="378" y="186"/>
                </a:lnTo>
                <a:lnTo>
                  <a:pt x="354" y="150"/>
                </a:lnTo>
                <a:lnTo>
                  <a:pt x="362" y="84"/>
                </a:lnTo>
                <a:lnTo>
                  <a:pt x="382" y="58"/>
                </a:lnTo>
                <a:lnTo>
                  <a:pt x="394" y="48"/>
                </a:lnTo>
                <a:lnTo>
                  <a:pt x="398" y="26"/>
                </a:lnTo>
                <a:lnTo>
                  <a:pt x="382" y="26"/>
                </a:lnTo>
                <a:lnTo>
                  <a:pt x="340" y="16"/>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83" name="Freeform 244">
            <a:extLst>
              <a:ext uri="{FF2B5EF4-FFF2-40B4-BE49-F238E27FC236}">
                <a16:creationId xmlns:a16="http://schemas.microsoft.com/office/drawing/2014/main" id="{17A84327-CA97-639F-0F4E-1379DC15BB9D}"/>
              </a:ext>
            </a:extLst>
          </p:cNvPr>
          <p:cNvSpPr>
            <a:spLocks/>
          </p:cNvSpPr>
          <p:nvPr/>
        </p:nvSpPr>
        <p:spPr bwMode="auto">
          <a:xfrm>
            <a:off x="10232064" y="4786342"/>
            <a:ext cx="772810" cy="790965"/>
          </a:xfrm>
          <a:custGeom>
            <a:avLst/>
            <a:gdLst/>
            <a:ahLst/>
            <a:cxnLst/>
            <a:rect l="l" t="t" r="r" b="b"/>
            <a:pathLst>
              <a:path w="946150" h="968375">
                <a:moveTo>
                  <a:pt x="419100" y="879475"/>
                </a:moveTo>
                <a:lnTo>
                  <a:pt x="466725" y="892175"/>
                </a:lnTo>
                <a:lnTo>
                  <a:pt x="498475" y="911225"/>
                </a:lnTo>
                <a:lnTo>
                  <a:pt x="527050" y="908050"/>
                </a:lnTo>
                <a:lnTo>
                  <a:pt x="546100" y="901700"/>
                </a:lnTo>
                <a:lnTo>
                  <a:pt x="577850" y="901700"/>
                </a:lnTo>
                <a:lnTo>
                  <a:pt x="587375" y="898525"/>
                </a:lnTo>
                <a:lnTo>
                  <a:pt x="590550" y="904875"/>
                </a:lnTo>
                <a:lnTo>
                  <a:pt x="609600" y="908050"/>
                </a:lnTo>
                <a:lnTo>
                  <a:pt x="717550" y="908050"/>
                </a:lnTo>
                <a:lnTo>
                  <a:pt x="736600" y="911225"/>
                </a:lnTo>
                <a:lnTo>
                  <a:pt x="736600" y="933450"/>
                </a:lnTo>
                <a:lnTo>
                  <a:pt x="717550" y="946150"/>
                </a:lnTo>
                <a:lnTo>
                  <a:pt x="622300" y="962025"/>
                </a:lnTo>
                <a:lnTo>
                  <a:pt x="574675" y="968375"/>
                </a:lnTo>
                <a:lnTo>
                  <a:pt x="555625" y="968375"/>
                </a:lnTo>
                <a:lnTo>
                  <a:pt x="555625" y="952500"/>
                </a:lnTo>
                <a:lnTo>
                  <a:pt x="488950" y="936625"/>
                </a:lnTo>
                <a:lnTo>
                  <a:pt x="441325" y="933450"/>
                </a:lnTo>
                <a:lnTo>
                  <a:pt x="425450" y="933450"/>
                </a:lnTo>
                <a:lnTo>
                  <a:pt x="412750" y="923925"/>
                </a:lnTo>
                <a:lnTo>
                  <a:pt x="415925" y="904875"/>
                </a:lnTo>
                <a:close/>
                <a:moveTo>
                  <a:pt x="841375" y="822325"/>
                </a:moveTo>
                <a:lnTo>
                  <a:pt x="831850" y="850900"/>
                </a:lnTo>
                <a:lnTo>
                  <a:pt x="844550" y="866775"/>
                </a:lnTo>
                <a:lnTo>
                  <a:pt x="835025" y="882650"/>
                </a:lnTo>
                <a:lnTo>
                  <a:pt x="831850" y="869950"/>
                </a:lnTo>
                <a:lnTo>
                  <a:pt x="825500" y="850900"/>
                </a:lnTo>
                <a:lnTo>
                  <a:pt x="831850" y="831850"/>
                </a:lnTo>
                <a:close/>
                <a:moveTo>
                  <a:pt x="946150" y="723900"/>
                </a:moveTo>
                <a:lnTo>
                  <a:pt x="946150" y="730250"/>
                </a:lnTo>
                <a:lnTo>
                  <a:pt x="933450" y="768350"/>
                </a:lnTo>
                <a:lnTo>
                  <a:pt x="901700" y="806450"/>
                </a:lnTo>
                <a:lnTo>
                  <a:pt x="898525" y="755650"/>
                </a:lnTo>
                <a:close/>
                <a:moveTo>
                  <a:pt x="841375" y="673100"/>
                </a:moveTo>
                <a:lnTo>
                  <a:pt x="800100" y="704850"/>
                </a:lnTo>
                <a:lnTo>
                  <a:pt x="815975" y="676275"/>
                </a:lnTo>
                <a:close/>
                <a:moveTo>
                  <a:pt x="796925" y="549275"/>
                </a:moveTo>
                <a:lnTo>
                  <a:pt x="765175" y="571500"/>
                </a:lnTo>
                <a:lnTo>
                  <a:pt x="749300" y="552450"/>
                </a:lnTo>
                <a:lnTo>
                  <a:pt x="777875" y="552450"/>
                </a:lnTo>
                <a:close/>
                <a:moveTo>
                  <a:pt x="60325" y="488950"/>
                </a:moveTo>
                <a:lnTo>
                  <a:pt x="82550" y="546100"/>
                </a:lnTo>
                <a:lnTo>
                  <a:pt x="41275" y="533400"/>
                </a:lnTo>
                <a:close/>
                <a:moveTo>
                  <a:pt x="654050" y="447675"/>
                </a:moveTo>
                <a:lnTo>
                  <a:pt x="685800" y="450850"/>
                </a:lnTo>
                <a:lnTo>
                  <a:pt x="679450" y="501650"/>
                </a:lnTo>
                <a:lnTo>
                  <a:pt x="654050" y="488950"/>
                </a:lnTo>
                <a:close/>
                <a:moveTo>
                  <a:pt x="365125" y="400050"/>
                </a:moveTo>
                <a:lnTo>
                  <a:pt x="415925" y="444500"/>
                </a:lnTo>
                <a:lnTo>
                  <a:pt x="441325" y="454025"/>
                </a:lnTo>
                <a:lnTo>
                  <a:pt x="469900" y="488950"/>
                </a:lnTo>
                <a:lnTo>
                  <a:pt x="485775" y="517525"/>
                </a:lnTo>
                <a:lnTo>
                  <a:pt x="514350" y="523875"/>
                </a:lnTo>
                <a:lnTo>
                  <a:pt x="498475" y="546100"/>
                </a:lnTo>
                <a:lnTo>
                  <a:pt x="473075" y="523875"/>
                </a:lnTo>
                <a:lnTo>
                  <a:pt x="441325" y="488950"/>
                </a:lnTo>
                <a:lnTo>
                  <a:pt x="396875" y="460375"/>
                </a:lnTo>
                <a:lnTo>
                  <a:pt x="346075" y="431800"/>
                </a:lnTo>
                <a:lnTo>
                  <a:pt x="314325" y="431800"/>
                </a:lnTo>
                <a:close/>
                <a:moveTo>
                  <a:pt x="708025" y="339725"/>
                </a:moveTo>
                <a:lnTo>
                  <a:pt x="720725" y="387350"/>
                </a:lnTo>
                <a:lnTo>
                  <a:pt x="663575" y="377825"/>
                </a:lnTo>
                <a:lnTo>
                  <a:pt x="644525" y="361950"/>
                </a:lnTo>
                <a:lnTo>
                  <a:pt x="657225" y="346075"/>
                </a:lnTo>
                <a:close/>
                <a:moveTo>
                  <a:pt x="657225" y="0"/>
                </a:moveTo>
                <a:lnTo>
                  <a:pt x="673100" y="3175"/>
                </a:lnTo>
                <a:lnTo>
                  <a:pt x="688975" y="9525"/>
                </a:lnTo>
                <a:lnTo>
                  <a:pt x="698500" y="15875"/>
                </a:lnTo>
                <a:lnTo>
                  <a:pt x="708025" y="50800"/>
                </a:lnTo>
                <a:lnTo>
                  <a:pt x="688975" y="92075"/>
                </a:lnTo>
                <a:lnTo>
                  <a:pt x="650875" y="142875"/>
                </a:lnTo>
                <a:lnTo>
                  <a:pt x="565150" y="123825"/>
                </a:lnTo>
                <a:lnTo>
                  <a:pt x="501650" y="136525"/>
                </a:lnTo>
                <a:lnTo>
                  <a:pt x="441325" y="149225"/>
                </a:lnTo>
                <a:lnTo>
                  <a:pt x="415925" y="152400"/>
                </a:lnTo>
                <a:lnTo>
                  <a:pt x="406400" y="190500"/>
                </a:lnTo>
                <a:lnTo>
                  <a:pt x="396875" y="231775"/>
                </a:lnTo>
                <a:lnTo>
                  <a:pt x="365125" y="228600"/>
                </a:lnTo>
                <a:lnTo>
                  <a:pt x="317500" y="177800"/>
                </a:lnTo>
                <a:lnTo>
                  <a:pt x="285750" y="196850"/>
                </a:lnTo>
                <a:lnTo>
                  <a:pt x="276225" y="247650"/>
                </a:lnTo>
                <a:lnTo>
                  <a:pt x="295275" y="285750"/>
                </a:lnTo>
                <a:lnTo>
                  <a:pt x="361950" y="365125"/>
                </a:lnTo>
                <a:lnTo>
                  <a:pt x="352425" y="393700"/>
                </a:lnTo>
                <a:lnTo>
                  <a:pt x="336550" y="393700"/>
                </a:lnTo>
                <a:lnTo>
                  <a:pt x="339725" y="387350"/>
                </a:lnTo>
                <a:lnTo>
                  <a:pt x="330200" y="358775"/>
                </a:lnTo>
                <a:lnTo>
                  <a:pt x="314325" y="387350"/>
                </a:lnTo>
                <a:lnTo>
                  <a:pt x="317500" y="384175"/>
                </a:lnTo>
                <a:lnTo>
                  <a:pt x="327025" y="393700"/>
                </a:lnTo>
                <a:lnTo>
                  <a:pt x="317500" y="422275"/>
                </a:lnTo>
                <a:lnTo>
                  <a:pt x="282575" y="425450"/>
                </a:lnTo>
                <a:lnTo>
                  <a:pt x="295275" y="431800"/>
                </a:lnTo>
                <a:lnTo>
                  <a:pt x="317500" y="444500"/>
                </a:lnTo>
                <a:lnTo>
                  <a:pt x="352425" y="454025"/>
                </a:lnTo>
                <a:lnTo>
                  <a:pt x="422275" y="492125"/>
                </a:lnTo>
                <a:lnTo>
                  <a:pt x="450850" y="511175"/>
                </a:lnTo>
                <a:lnTo>
                  <a:pt x="460375" y="555625"/>
                </a:lnTo>
                <a:lnTo>
                  <a:pt x="454025" y="590550"/>
                </a:lnTo>
                <a:lnTo>
                  <a:pt x="425450" y="571500"/>
                </a:lnTo>
                <a:lnTo>
                  <a:pt x="387350" y="542925"/>
                </a:lnTo>
                <a:lnTo>
                  <a:pt x="342900" y="558800"/>
                </a:lnTo>
                <a:lnTo>
                  <a:pt x="330200" y="584200"/>
                </a:lnTo>
                <a:lnTo>
                  <a:pt x="317500" y="635000"/>
                </a:lnTo>
                <a:lnTo>
                  <a:pt x="330200" y="663575"/>
                </a:lnTo>
                <a:lnTo>
                  <a:pt x="358775" y="749300"/>
                </a:lnTo>
                <a:lnTo>
                  <a:pt x="355600" y="768350"/>
                </a:lnTo>
                <a:lnTo>
                  <a:pt x="317500" y="720725"/>
                </a:lnTo>
                <a:lnTo>
                  <a:pt x="292100" y="723900"/>
                </a:lnTo>
                <a:lnTo>
                  <a:pt x="285750" y="777875"/>
                </a:lnTo>
                <a:lnTo>
                  <a:pt x="276225" y="765175"/>
                </a:lnTo>
                <a:lnTo>
                  <a:pt x="269875" y="742950"/>
                </a:lnTo>
                <a:lnTo>
                  <a:pt x="254000" y="704850"/>
                </a:lnTo>
                <a:lnTo>
                  <a:pt x="222250" y="695325"/>
                </a:lnTo>
                <a:lnTo>
                  <a:pt x="219075" y="727075"/>
                </a:lnTo>
                <a:lnTo>
                  <a:pt x="184150" y="695325"/>
                </a:lnTo>
                <a:lnTo>
                  <a:pt x="177800" y="669925"/>
                </a:lnTo>
                <a:lnTo>
                  <a:pt x="187325" y="657225"/>
                </a:lnTo>
                <a:lnTo>
                  <a:pt x="146050" y="606425"/>
                </a:lnTo>
                <a:lnTo>
                  <a:pt x="130175" y="565150"/>
                </a:lnTo>
                <a:lnTo>
                  <a:pt x="155575" y="527050"/>
                </a:lnTo>
                <a:lnTo>
                  <a:pt x="196850" y="530225"/>
                </a:lnTo>
                <a:lnTo>
                  <a:pt x="247650" y="527050"/>
                </a:lnTo>
                <a:lnTo>
                  <a:pt x="304800" y="542925"/>
                </a:lnTo>
                <a:lnTo>
                  <a:pt x="346075" y="539750"/>
                </a:lnTo>
                <a:lnTo>
                  <a:pt x="346075" y="517525"/>
                </a:lnTo>
                <a:lnTo>
                  <a:pt x="266700" y="498475"/>
                </a:lnTo>
                <a:lnTo>
                  <a:pt x="203200" y="495300"/>
                </a:lnTo>
                <a:lnTo>
                  <a:pt x="130175" y="511175"/>
                </a:lnTo>
                <a:lnTo>
                  <a:pt x="92075" y="457200"/>
                </a:lnTo>
                <a:lnTo>
                  <a:pt x="79375" y="434975"/>
                </a:lnTo>
                <a:lnTo>
                  <a:pt x="63500" y="393700"/>
                </a:lnTo>
                <a:lnTo>
                  <a:pt x="50800" y="384175"/>
                </a:lnTo>
                <a:lnTo>
                  <a:pt x="50800" y="377825"/>
                </a:lnTo>
                <a:lnTo>
                  <a:pt x="38100" y="374650"/>
                </a:lnTo>
                <a:lnTo>
                  <a:pt x="22225" y="352425"/>
                </a:lnTo>
                <a:lnTo>
                  <a:pt x="19050" y="339725"/>
                </a:lnTo>
                <a:lnTo>
                  <a:pt x="0" y="317500"/>
                </a:lnTo>
                <a:lnTo>
                  <a:pt x="38100" y="304800"/>
                </a:lnTo>
                <a:lnTo>
                  <a:pt x="66675" y="260350"/>
                </a:lnTo>
                <a:lnTo>
                  <a:pt x="107950" y="196850"/>
                </a:lnTo>
                <a:lnTo>
                  <a:pt x="104775" y="152400"/>
                </a:lnTo>
                <a:lnTo>
                  <a:pt x="187325" y="139700"/>
                </a:lnTo>
                <a:lnTo>
                  <a:pt x="200025" y="123825"/>
                </a:lnTo>
                <a:lnTo>
                  <a:pt x="203200" y="117475"/>
                </a:lnTo>
                <a:lnTo>
                  <a:pt x="238125" y="104775"/>
                </a:lnTo>
                <a:lnTo>
                  <a:pt x="263525" y="111125"/>
                </a:lnTo>
                <a:lnTo>
                  <a:pt x="282575" y="107950"/>
                </a:lnTo>
                <a:lnTo>
                  <a:pt x="292100" y="85725"/>
                </a:lnTo>
                <a:lnTo>
                  <a:pt x="311150" y="79375"/>
                </a:lnTo>
                <a:lnTo>
                  <a:pt x="412750" y="57150"/>
                </a:lnTo>
                <a:lnTo>
                  <a:pt x="450850" y="41275"/>
                </a:lnTo>
                <a:lnTo>
                  <a:pt x="495300" y="50800"/>
                </a:lnTo>
                <a:lnTo>
                  <a:pt x="546100" y="66675"/>
                </a:lnTo>
                <a:lnTo>
                  <a:pt x="561975" y="79375"/>
                </a:lnTo>
                <a:lnTo>
                  <a:pt x="584200" y="73025"/>
                </a:lnTo>
                <a:lnTo>
                  <a:pt x="641350" y="60325"/>
                </a:lnTo>
                <a:close/>
              </a:path>
            </a:pathLst>
          </a:custGeom>
          <a:solidFill>
            <a:srgbClr val="DFE6ED"/>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84" name="Ellipse 145">
            <a:extLst>
              <a:ext uri="{FF2B5EF4-FFF2-40B4-BE49-F238E27FC236}">
                <a16:creationId xmlns:a16="http://schemas.microsoft.com/office/drawing/2014/main" id="{1535F6F9-2651-1F15-C66D-5936907F4C61}"/>
              </a:ext>
            </a:extLst>
          </p:cNvPr>
          <p:cNvSpPr/>
          <p:nvPr/>
        </p:nvSpPr>
        <p:spPr bwMode="auto">
          <a:xfrm>
            <a:off x="10031939" y="4098223"/>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4</a:t>
            </a:r>
          </a:p>
        </p:txBody>
      </p:sp>
      <p:sp>
        <p:nvSpPr>
          <p:cNvPr id="85" name="Ellipse 146">
            <a:extLst>
              <a:ext uri="{FF2B5EF4-FFF2-40B4-BE49-F238E27FC236}">
                <a16:creationId xmlns:a16="http://schemas.microsoft.com/office/drawing/2014/main" id="{EF5EE6C7-3336-26A3-B000-59876C47D97B}"/>
              </a:ext>
            </a:extLst>
          </p:cNvPr>
          <p:cNvSpPr/>
          <p:nvPr/>
        </p:nvSpPr>
        <p:spPr bwMode="auto">
          <a:xfrm>
            <a:off x="9752893" y="4000353"/>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4</a:t>
            </a:r>
          </a:p>
        </p:txBody>
      </p:sp>
      <p:sp>
        <p:nvSpPr>
          <p:cNvPr id="86" name="Ellipse 150">
            <a:extLst>
              <a:ext uri="{FF2B5EF4-FFF2-40B4-BE49-F238E27FC236}">
                <a16:creationId xmlns:a16="http://schemas.microsoft.com/office/drawing/2014/main" id="{8416C1FF-64A6-E8D5-9E2C-7B4DE91099B6}"/>
              </a:ext>
            </a:extLst>
          </p:cNvPr>
          <p:cNvSpPr/>
          <p:nvPr/>
        </p:nvSpPr>
        <p:spPr bwMode="auto">
          <a:xfrm>
            <a:off x="8693287" y="3316412"/>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2</a:t>
            </a:r>
          </a:p>
        </p:txBody>
      </p:sp>
      <p:sp>
        <p:nvSpPr>
          <p:cNvPr id="87" name="Ellipse 151">
            <a:extLst>
              <a:ext uri="{FF2B5EF4-FFF2-40B4-BE49-F238E27FC236}">
                <a16:creationId xmlns:a16="http://schemas.microsoft.com/office/drawing/2014/main" id="{6425F384-F3EF-FD59-5EC5-ECE8CF8B951D}"/>
              </a:ext>
            </a:extLst>
          </p:cNvPr>
          <p:cNvSpPr/>
          <p:nvPr/>
        </p:nvSpPr>
        <p:spPr bwMode="auto">
          <a:xfrm>
            <a:off x="9088607" y="3338514"/>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3</a:t>
            </a:r>
          </a:p>
        </p:txBody>
      </p:sp>
      <p:sp>
        <p:nvSpPr>
          <p:cNvPr id="89" name="Freeform 265">
            <a:extLst>
              <a:ext uri="{FF2B5EF4-FFF2-40B4-BE49-F238E27FC236}">
                <a16:creationId xmlns:a16="http://schemas.microsoft.com/office/drawing/2014/main" id="{DD95A7E8-070C-A48F-C2FA-9251E36BEC40}"/>
              </a:ext>
            </a:extLst>
          </p:cNvPr>
          <p:cNvSpPr>
            <a:spLocks/>
          </p:cNvSpPr>
          <p:nvPr/>
        </p:nvSpPr>
        <p:spPr bwMode="auto">
          <a:xfrm>
            <a:off x="9142590" y="4162650"/>
            <a:ext cx="956937" cy="1216268"/>
          </a:xfrm>
          <a:custGeom>
            <a:avLst/>
            <a:gdLst/>
            <a:ahLst/>
            <a:cxnLst/>
            <a:rect l="l" t="t" r="r" b="b"/>
            <a:pathLst>
              <a:path w="1171575" h="1489075">
                <a:moveTo>
                  <a:pt x="555625" y="1260475"/>
                </a:moveTo>
                <a:lnTo>
                  <a:pt x="587375" y="1270000"/>
                </a:lnTo>
                <a:lnTo>
                  <a:pt x="631825" y="1295400"/>
                </a:lnTo>
                <a:lnTo>
                  <a:pt x="701675" y="1292225"/>
                </a:lnTo>
                <a:lnTo>
                  <a:pt x="784225" y="1282700"/>
                </a:lnTo>
                <a:lnTo>
                  <a:pt x="844550" y="1266825"/>
                </a:lnTo>
                <a:lnTo>
                  <a:pt x="841375" y="1270000"/>
                </a:lnTo>
                <a:lnTo>
                  <a:pt x="784225" y="1349375"/>
                </a:lnTo>
                <a:lnTo>
                  <a:pt x="774700" y="1393825"/>
                </a:lnTo>
                <a:lnTo>
                  <a:pt x="784225" y="1419225"/>
                </a:lnTo>
                <a:lnTo>
                  <a:pt x="787400" y="1447800"/>
                </a:lnTo>
                <a:lnTo>
                  <a:pt x="765175" y="1489075"/>
                </a:lnTo>
                <a:lnTo>
                  <a:pt x="733425" y="1482725"/>
                </a:lnTo>
                <a:lnTo>
                  <a:pt x="679450" y="1450975"/>
                </a:lnTo>
                <a:lnTo>
                  <a:pt x="622300" y="1409700"/>
                </a:lnTo>
                <a:lnTo>
                  <a:pt x="561975" y="1371600"/>
                </a:lnTo>
                <a:lnTo>
                  <a:pt x="495300" y="1336675"/>
                </a:lnTo>
                <a:lnTo>
                  <a:pt x="479425" y="1304925"/>
                </a:lnTo>
                <a:lnTo>
                  <a:pt x="488950" y="1276350"/>
                </a:lnTo>
                <a:close/>
                <a:moveTo>
                  <a:pt x="184150" y="781050"/>
                </a:moveTo>
                <a:lnTo>
                  <a:pt x="215900" y="831850"/>
                </a:lnTo>
                <a:lnTo>
                  <a:pt x="231775" y="892175"/>
                </a:lnTo>
                <a:lnTo>
                  <a:pt x="206375" y="920750"/>
                </a:lnTo>
                <a:lnTo>
                  <a:pt x="209550" y="958850"/>
                </a:lnTo>
                <a:lnTo>
                  <a:pt x="203200" y="987425"/>
                </a:lnTo>
                <a:lnTo>
                  <a:pt x="168275" y="1082675"/>
                </a:lnTo>
                <a:lnTo>
                  <a:pt x="95250" y="1104900"/>
                </a:lnTo>
                <a:lnTo>
                  <a:pt x="60325" y="1069975"/>
                </a:lnTo>
                <a:lnTo>
                  <a:pt x="76200" y="974725"/>
                </a:lnTo>
                <a:lnTo>
                  <a:pt x="82550" y="904875"/>
                </a:lnTo>
                <a:lnTo>
                  <a:pt x="60325" y="854075"/>
                </a:lnTo>
                <a:lnTo>
                  <a:pt x="69850" y="806450"/>
                </a:lnTo>
                <a:lnTo>
                  <a:pt x="114300" y="822325"/>
                </a:lnTo>
                <a:lnTo>
                  <a:pt x="146050" y="803275"/>
                </a:lnTo>
                <a:close/>
                <a:moveTo>
                  <a:pt x="561975" y="438150"/>
                </a:moveTo>
                <a:lnTo>
                  <a:pt x="558800" y="441325"/>
                </a:lnTo>
                <a:lnTo>
                  <a:pt x="558800" y="444500"/>
                </a:lnTo>
                <a:lnTo>
                  <a:pt x="558800" y="447675"/>
                </a:lnTo>
                <a:lnTo>
                  <a:pt x="561975" y="450850"/>
                </a:lnTo>
                <a:lnTo>
                  <a:pt x="565150" y="450850"/>
                </a:lnTo>
                <a:lnTo>
                  <a:pt x="565150" y="447675"/>
                </a:lnTo>
                <a:lnTo>
                  <a:pt x="568325" y="447675"/>
                </a:lnTo>
                <a:lnTo>
                  <a:pt x="568325" y="444500"/>
                </a:lnTo>
                <a:lnTo>
                  <a:pt x="568325" y="438150"/>
                </a:lnTo>
                <a:lnTo>
                  <a:pt x="565150" y="438150"/>
                </a:lnTo>
                <a:close/>
                <a:moveTo>
                  <a:pt x="581025" y="0"/>
                </a:moveTo>
                <a:lnTo>
                  <a:pt x="574675" y="19050"/>
                </a:lnTo>
                <a:lnTo>
                  <a:pt x="581025" y="28575"/>
                </a:lnTo>
                <a:lnTo>
                  <a:pt x="584200" y="28575"/>
                </a:lnTo>
                <a:lnTo>
                  <a:pt x="584200" y="41275"/>
                </a:lnTo>
                <a:lnTo>
                  <a:pt x="593725" y="44450"/>
                </a:lnTo>
                <a:lnTo>
                  <a:pt x="593725" y="53975"/>
                </a:lnTo>
                <a:lnTo>
                  <a:pt x="650875" y="73025"/>
                </a:lnTo>
                <a:lnTo>
                  <a:pt x="720725" y="92075"/>
                </a:lnTo>
                <a:lnTo>
                  <a:pt x="695325" y="133350"/>
                </a:lnTo>
                <a:lnTo>
                  <a:pt x="701675" y="190500"/>
                </a:lnTo>
                <a:lnTo>
                  <a:pt x="711200" y="196850"/>
                </a:lnTo>
                <a:lnTo>
                  <a:pt x="727075" y="215900"/>
                </a:lnTo>
                <a:lnTo>
                  <a:pt x="711200" y="225425"/>
                </a:lnTo>
                <a:lnTo>
                  <a:pt x="711200" y="209550"/>
                </a:lnTo>
                <a:lnTo>
                  <a:pt x="692150" y="193675"/>
                </a:lnTo>
                <a:lnTo>
                  <a:pt x="622300" y="206375"/>
                </a:lnTo>
                <a:lnTo>
                  <a:pt x="565150" y="228600"/>
                </a:lnTo>
                <a:lnTo>
                  <a:pt x="552450" y="254000"/>
                </a:lnTo>
                <a:lnTo>
                  <a:pt x="565150" y="260350"/>
                </a:lnTo>
                <a:lnTo>
                  <a:pt x="565150" y="269875"/>
                </a:lnTo>
                <a:lnTo>
                  <a:pt x="574675" y="292100"/>
                </a:lnTo>
                <a:lnTo>
                  <a:pt x="584200" y="298450"/>
                </a:lnTo>
                <a:lnTo>
                  <a:pt x="574675" y="320675"/>
                </a:lnTo>
                <a:lnTo>
                  <a:pt x="555625" y="317500"/>
                </a:lnTo>
                <a:lnTo>
                  <a:pt x="552450" y="358775"/>
                </a:lnTo>
                <a:lnTo>
                  <a:pt x="574675" y="425450"/>
                </a:lnTo>
                <a:lnTo>
                  <a:pt x="635000" y="482600"/>
                </a:lnTo>
                <a:lnTo>
                  <a:pt x="654050" y="495300"/>
                </a:lnTo>
                <a:lnTo>
                  <a:pt x="669925" y="520700"/>
                </a:lnTo>
                <a:lnTo>
                  <a:pt x="698500" y="603250"/>
                </a:lnTo>
                <a:lnTo>
                  <a:pt x="723900" y="666750"/>
                </a:lnTo>
                <a:lnTo>
                  <a:pt x="828675" y="752475"/>
                </a:lnTo>
                <a:lnTo>
                  <a:pt x="879475" y="755650"/>
                </a:lnTo>
                <a:lnTo>
                  <a:pt x="927100" y="765175"/>
                </a:lnTo>
                <a:lnTo>
                  <a:pt x="898525" y="796925"/>
                </a:lnTo>
                <a:lnTo>
                  <a:pt x="927100" y="838200"/>
                </a:lnTo>
                <a:lnTo>
                  <a:pt x="993775" y="873125"/>
                </a:lnTo>
                <a:lnTo>
                  <a:pt x="1054100" y="908050"/>
                </a:lnTo>
                <a:lnTo>
                  <a:pt x="1111250" y="946150"/>
                </a:lnTo>
                <a:lnTo>
                  <a:pt x="1162050" y="996950"/>
                </a:lnTo>
                <a:lnTo>
                  <a:pt x="1171575" y="1022350"/>
                </a:lnTo>
                <a:lnTo>
                  <a:pt x="1158875" y="1063625"/>
                </a:lnTo>
                <a:lnTo>
                  <a:pt x="1117600" y="1044575"/>
                </a:lnTo>
                <a:lnTo>
                  <a:pt x="1114425" y="1019175"/>
                </a:lnTo>
                <a:lnTo>
                  <a:pt x="1095375" y="993775"/>
                </a:lnTo>
                <a:lnTo>
                  <a:pt x="1025525" y="962025"/>
                </a:lnTo>
                <a:lnTo>
                  <a:pt x="984250" y="987425"/>
                </a:lnTo>
                <a:lnTo>
                  <a:pt x="949325" y="1060450"/>
                </a:lnTo>
                <a:lnTo>
                  <a:pt x="984250" y="1092200"/>
                </a:lnTo>
                <a:lnTo>
                  <a:pt x="1016000" y="1127125"/>
                </a:lnTo>
                <a:lnTo>
                  <a:pt x="996950" y="1181100"/>
                </a:lnTo>
                <a:lnTo>
                  <a:pt x="958850" y="1196975"/>
                </a:lnTo>
                <a:lnTo>
                  <a:pt x="949325" y="1231900"/>
                </a:lnTo>
                <a:lnTo>
                  <a:pt x="923925" y="1279525"/>
                </a:lnTo>
                <a:lnTo>
                  <a:pt x="882650" y="1320800"/>
                </a:lnTo>
                <a:lnTo>
                  <a:pt x="841375" y="1308100"/>
                </a:lnTo>
                <a:lnTo>
                  <a:pt x="850900" y="1270000"/>
                </a:lnTo>
                <a:lnTo>
                  <a:pt x="873125" y="1241425"/>
                </a:lnTo>
                <a:lnTo>
                  <a:pt x="892175" y="1206500"/>
                </a:lnTo>
                <a:lnTo>
                  <a:pt x="904875" y="1174750"/>
                </a:lnTo>
                <a:lnTo>
                  <a:pt x="892175" y="1114425"/>
                </a:lnTo>
                <a:lnTo>
                  <a:pt x="869950" y="1041400"/>
                </a:lnTo>
                <a:lnTo>
                  <a:pt x="831850" y="1006475"/>
                </a:lnTo>
                <a:lnTo>
                  <a:pt x="777875" y="987425"/>
                </a:lnTo>
                <a:lnTo>
                  <a:pt x="781050" y="946150"/>
                </a:lnTo>
                <a:lnTo>
                  <a:pt x="765175" y="920750"/>
                </a:lnTo>
                <a:lnTo>
                  <a:pt x="673100" y="863600"/>
                </a:lnTo>
                <a:lnTo>
                  <a:pt x="635000" y="831850"/>
                </a:lnTo>
                <a:lnTo>
                  <a:pt x="584200" y="815975"/>
                </a:lnTo>
                <a:lnTo>
                  <a:pt x="508000" y="752475"/>
                </a:lnTo>
                <a:lnTo>
                  <a:pt x="466725" y="695325"/>
                </a:lnTo>
                <a:lnTo>
                  <a:pt x="428625" y="647700"/>
                </a:lnTo>
                <a:lnTo>
                  <a:pt x="377825" y="574675"/>
                </a:lnTo>
                <a:lnTo>
                  <a:pt x="361950" y="542925"/>
                </a:lnTo>
                <a:lnTo>
                  <a:pt x="352425" y="511175"/>
                </a:lnTo>
                <a:lnTo>
                  <a:pt x="333375" y="425450"/>
                </a:lnTo>
                <a:lnTo>
                  <a:pt x="304800" y="390525"/>
                </a:lnTo>
                <a:lnTo>
                  <a:pt x="244475" y="349250"/>
                </a:lnTo>
                <a:lnTo>
                  <a:pt x="200025" y="327025"/>
                </a:lnTo>
                <a:lnTo>
                  <a:pt x="155575" y="349250"/>
                </a:lnTo>
                <a:lnTo>
                  <a:pt x="117475" y="390525"/>
                </a:lnTo>
                <a:lnTo>
                  <a:pt x="57150" y="396875"/>
                </a:lnTo>
                <a:lnTo>
                  <a:pt x="53975" y="349250"/>
                </a:lnTo>
                <a:lnTo>
                  <a:pt x="22225" y="327025"/>
                </a:lnTo>
                <a:lnTo>
                  <a:pt x="6350" y="301625"/>
                </a:lnTo>
                <a:lnTo>
                  <a:pt x="12700" y="276225"/>
                </a:lnTo>
                <a:lnTo>
                  <a:pt x="34925" y="244475"/>
                </a:lnTo>
                <a:lnTo>
                  <a:pt x="22225" y="234950"/>
                </a:lnTo>
                <a:lnTo>
                  <a:pt x="9525" y="219075"/>
                </a:lnTo>
                <a:lnTo>
                  <a:pt x="0" y="196850"/>
                </a:lnTo>
                <a:lnTo>
                  <a:pt x="41275" y="190500"/>
                </a:lnTo>
                <a:lnTo>
                  <a:pt x="53975" y="180975"/>
                </a:lnTo>
                <a:lnTo>
                  <a:pt x="57150" y="155575"/>
                </a:lnTo>
                <a:lnTo>
                  <a:pt x="34925" y="114300"/>
                </a:lnTo>
                <a:lnTo>
                  <a:pt x="60325" y="88900"/>
                </a:lnTo>
                <a:lnTo>
                  <a:pt x="114300" y="92075"/>
                </a:lnTo>
                <a:lnTo>
                  <a:pt x="123825" y="95250"/>
                </a:lnTo>
                <a:lnTo>
                  <a:pt x="139700" y="104775"/>
                </a:lnTo>
                <a:lnTo>
                  <a:pt x="142875" y="98425"/>
                </a:lnTo>
                <a:lnTo>
                  <a:pt x="155575" y="95250"/>
                </a:lnTo>
                <a:lnTo>
                  <a:pt x="174625" y="76200"/>
                </a:lnTo>
                <a:lnTo>
                  <a:pt x="180975" y="57150"/>
                </a:lnTo>
                <a:lnTo>
                  <a:pt x="209550" y="53975"/>
                </a:lnTo>
                <a:lnTo>
                  <a:pt x="206375" y="73025"/>
                </a:lnTo>
                <a:lnTo>
                  <a:pt x="231775" y="98425"/>
                </a:lnTo>
                <a:lnTo>
                  <a:pt x="250825" y="114300"/>
                </a:lnTo>
                <a:lnTo>
                  <a:pt x="257175" y="104775"/>
                </a:lnTo>
                <a:lnTo>
                  <a:pt x="282575" y="76200"/>
                </a:lnTo>
                <a:lnTo>
                  <a:pt x="342900" y="79375"/>
                </a:lnTo>
                <a:lnTo>
                  <a:pt x="371475" y="85725"/>
                </a:lnTo>
                <a:lnTo>
                  <a:pt x="374650" y="41275"/>
                </a:lnTo>
                <a:lnTo>
                  <a:pt x="384175" y="44450"/>
                </a:lnTo>
                <a:lnTo>
                  <a:pt x="400050" y="53975"/>
                </a:lnTo>
                <a:lnTo>
                  <a:pt x="409575" y="47625"/>
                </a:lnTo>
                <a:lnTo>
                  <a:pt x="412750" y="9525"/>
                </a:lnTo>
                <a:lnTo>
                  <a:pt x="457200" y="28575"/>
                </a:lnTo>
                <a:lnTo>
                  <a:pt x="479425" y="6350"/>
                </a:lnTo>
                <a:lnTo>
                  <a:pt x="520700" y="3175"/>
                </a:lnTo>
                <a:close/>
              </a:path>
            </a:pathLst>
          </a:custGeom>
          <a:solidFill>
            <a:schemeClr val="accent2"/>
          </a:solidFill>
          <a:ln w="3175">
            <a:solidFill>
              <a:srgbClr val="1A1A3E"/>
            </a:solidFill>
            <a:prstDash val="solid"/>
            <a:round/>
            <a:headEnd/>
            <a:tailEnd/>
          </a:ln>
        </p:spPr>
        <p:txBody>
          <a:bodyPr/>
          <a:lstStyle/>
          <a:p>
            <a:pPr defTabSz="913943">
              <a:defRPr/>
            </a:pPr>
            <a:endParaRPr lang="en-US" sz="1798">
              <a:solidFill>
                <a:srgbClr val="000000"/>
              </a:solidFill>
              <a:latin typeface="Arial"/>
            </a:endParaRPr>
          </a:p>
        </p:txBody>
      </p:sp>
      <p:sp>
        <p:nvSpPr>
          <p:cNvPr id="100" name="Ellipse 151">
            <a:extLst>
              <a:ext uri="{FF2B5EF4-FFF2-40B4-BE49-F238E27FC236}">
                <a16:creationId xmlns:a16="http://schemas.microsoft.com/office/drawing/2014/main" id="{21CB6DDD-2B82-402F-F704-4CD1B1FB79A9}"/>
              </a:ext>
            </a:extLst>
          </p:cNvPr>
          <p:cNvSpPr/>
          <p:nvPr/>
        </p:nvSpPr>
        <p:spPr bwMode="auto">
          <a:xfrm>
            <a:off x="9998475" y="2639124"/>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1</a:t>
            </a:r>
          </a:p>
        </p:txBody>
      </p:sp>
      <p:sp>
        <p:nvSpPr>
          <p:cNvPr id="101" name="Ellipse 151">
            <a:extLst>
              <a:ext uri="{FF2B5EF4-FFF2-40B4-BE49-F238E27FC236}">
                <a16:creationId xmlns:a16="http://schemas.microsoft.com/office/drawing/2014/main" id="{9CF2B58E-5279-425C-80E0-4FA06CFA0243}"/>
              </a:ext>
            </a:extLst>
          </p:cNvPr>
          <p:cNvSpPr/>
          <p:nvPr/>
        </p:nvSpPr>
        <p:spPr bwMode="auto">
          <a:xfrm>
            <a:off x="8862117" y="3761680"/>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5</a:t>
            </a:r>
          </a:p>
        </p:txBody>
      </p:sp>
      <p:sp>
        <p:nvSpPr>
          <p:cNvPr id="102" name="Ellipse 151">
            <a:extLst>
              <a:ext uri="{FF2B5EF4-FFF2-40B4-BE49-F238E27FC236}">
                <a16:creationId xmlns:a16="http://schemas.microsoft.com/office/drawing/2014/main" id="{C569FD19-E306-5F0D-2AC1-2C52F1BD7EA2}"/>
              </a:ext>
            </a:extLst>
          </p:cNvPr>
          <p:cNvSpPr>
            <a:spLocks/>
          </p:cNvSpPr>
          <p:nvPr/>
        </p:nvSpPr>
        <p:spPr bwMode="auto">
          <a:xfrm>
            <a:off x="9522411" y="3073380"/>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1</a:t>
            </a:r>
          </a:p>
        </p:txBody>
      </p:sp>
      <p:sp>
        <p:nvSpPr>
          <p:cNvPr id="103" name="Ellipse 151">
            <a:extLst>
              <a:ext uri="{FF2B5EF4-FFF2-40B4-BE49-F238E27FC236}">
                <a16:creationId xmlns:a16="http://schemas.microsoft.com/office/drawing/2014/main" id="{FCA06E32-36B8-8899-26DF-0FBFC66C09F2}"/>
              </a:ext>
            </a:extLst>
          </p:cNvPr>
          <p:cNvSpPr>
            <a:spLocks/>
          </p:cNvSpPr>
          <p:nvPr/>
        </p:nvSpPr>
        <p:spPr bwMode="auto">
          <a:xfrm>
            <a:off x="8985007" y="3561759"/>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3</a:t>
            </a:r>
          </a:p>
        </p:txBody>
      </p:sp>
      <p:sp>
        <p:nvSpPr>
          <p:cNvPr id="104" name="Ellipse 151">
            <a:extLst>
              <a:ext uri="{FF2B5EF4-FFF2-40B4-BE49-F238E27FC236}">
                <a16:creationId xmlns:a16="http://schemas.microsoft.com/office/drawing/2014/main" id="{837F300B-88CF-D559-69C8-7E490511AE16}"/>
              </a:ext>
            </a:extLst>
          </p:cNvPr>
          <p:cNvSpPr/>
          <p:nvPr/>
        </p:nvSpPr>
        <p:spPr bwMode="auto">
          <a:xfrm>
            <a:off x="10188336" y="3561759"/>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4</a:t>
            </a:r>
          </a:p>
        </p:txBody>
      </p:sp>
      <p:sp>
        <p:nvSpPr>
          <p:cNvPr id="105" name="Ellipse 151">
            <a:extLst>
              <a:ext uri="{FF2B5EF4-FFF2-40B4-BE49-F238E27FC236}">
                <a16:creationId xmlns:a16="http://schemas.microsoft.com/office/drawing/2014/main" id="{99A27F34-F876-7ABD-23DD-B0188A532822}"/>
              </a:ext>
            </a:extLst>
          </p:cNvPr>
          <p:cNvSpPr/>
          <p:nvPr/>
        </p:nvSpPr>
        <p:spPr bwMode="auto">
          <a:xfrm>
            <a:off x="9522411" y="4613018"/>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5</a:t>
            </a:r>
          </a:p>
        </p:txBody>
      </p:sp>
      <p:sp>
        <p:nvSpPr>
          <p:cNvPr id="106" name="Ellipse 151">
            <a:extLst>
              <a:ext uri="{FF2B5EF4-FFF2-40B4-BE49-F238E27FC236}">
                <a16:creationId xmlns:a16="http://schemas.microsoft.com/office/drawing/2014/main" id="{D7A566DB-0900-FD08-AF80-841854994E9B}"/>
              </a:ext>
            </a:extLst>
          </p:cNvPr>
          <p:cNvSpPr/>
          <p:nvPr/>
        </p:nvSpPr>
        <p:spPr bwMode="auto">
          <a:xfrm>
            <a:off x="9573560" y="2513241"/>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1</a:t>
            </a:r>
          </a:p>
        </p:txBody>
      </p:sp>
      <p:sp>
        <p:nvSpPr>
          <p:cNvPr id="107" name="Ellipse 151">
            <a:extLst>
              <a:ext uri="{FF2B5EF4-FFF2-40B4-BE49-F238E27FC236}">
                <a16:creationId xmlns:a16="http://schemas.microsoft.com/office/drawing/2014/main" id="{D9F36EB7-1814-DB97-68BC-136402BB2F6D}"/>
              </a:ext>
            </a:extLst>
          </p:cNvPr>
          <p:cNvSpPr/>
          <p:nvPr/>
        </p:nvSpPr>
        <p:spPr bwMode="auto">
          <a:xfrm>
            <a:off x="8032345" y="4561822"/>
            <a:ext cx="206862" cy="206854"/>
          </a:xfrm>
          <a:prstGeom prst="ellipse">
            <a:avLst/>
          </a:prstGeom>
          <a:solidFill>
            <a:schemeClr val="bg1"/>
          </a:solidFill>
          <a:ln w="12700">
            <a:noFill/>
          </a:ln>
          <a:effectLst/>
        </p:spPr>
        <p:txBody>
          <a:bodyPr wrap="square" lIns="0" tIns="0" rIns="0" bIns="0" numCol="1" spcCol="72000" rtlCol="0" anchor="ctr">
            <a:noAutofit/>
          </a:bodyPr>
          <a:lstStyle/>
          <a:p>
            <a:pPr algn="ctr" defTabSz="913943">
              <a:lnSpc>
                <a:spcPct val="110000"/>
              </a:lnSpc>
              <a:spcBef>
                <a:spcPct val="0"/>
              </a:spcBef>
              <a:defRPr/>
            </a:pPr>
            <a:r>
              <a:rPr lang="en-US" sz="999">
                <a:solidFill>
                  <a:srgbClr val="000028"/>
                </a:solidFill>
                <a:latin typeface="Arial"/>
                <a:ea typeface="Arial Unicode MS" panose="020B0604020202020204" pitchFamily="34" charset="-128"/>
                <a:cs typeface="Arial Unicode MS" panose="020B0604020202020204" pitchFamily="34" charset="-128"/>
              </a:rPr>
              <a:t>5</a:t>
            </a:r>
          </a:p>
        </p:txBody>
      </p:sp>
      <p:sp>
        <p:nvSpPr>
          <p:cNvPr id="2" name="Titel 1">
            <a:extLst>
              <a:ext uri="{FF2B5EF4-FFF2-40B4-BE49-F238E27FC236}">
                <a16:creationId xmlns:a16="http://schemas.microsoft.com/office/drawing/2014/main" id="{F8A51EFE-925A-5EE9-3876-845A2C93AAE9}"/>
              </a:ext>
            </a:extLst>
          </p:cNvPr>
          <p:cNvSpPr>
            <a:spLocks noGrp="1"/>
          </p:cNvSpPr>
          <p:nvPr>
            <p:ph type="title"/>
          </p:nvPr>
        </p:nvSpPr>
        <p:spPr/>
        <p:txBody>
          <a:bodyPr vert="horz"/>
          <a:lstStyle/>
          <a:p>
            <a:r>
              <a:rPr lang="en-US"/>
              <a:t>International interest in dynamic charging is growing, e.g., in Europe</a:t>
            </a:r>
            <a:br>
              <a:rPr lang="en-US"/>
            </a:br>
            <a:r>
              <a:rPr lang="en-US" b="0"/>
              <a:t>Enabling zero emission trucking on core motorways, example countries</a:t>
            </a:r>
          </a:p>
        </p:txBody>
      </p:sp>
    </p:spTree>
    <p:extLst>
      <p:ext uri="{BB962C8B-B14F-4D97-AF65-F5344CB8AC3E}">
        <p14:creationId xmlns:p14="http://schemas.microsoft.com/office/powerpoint/2010/main" val="4156115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energyefficiency</a:t>
            </a:r>
          </a:p>
        </p:txBody>
      </p:sp>
      <p:grpSp>
        <p:nvGrpSpPr>
          <p:cNvPr id="11" name="Gruppieren 10">
            <a:extLst>
              <a:ext uri="{FF2B5EF4-FFF2-40B4-BE49-F238E27FC236}">
                <a16:creationId xmlns:a16="http://schemas.microsoft.com/office/drawing/2014/main" id="{DA6F9D23-29C5-4AB0-BD71-A0044C687B22}"/>
              </a:ext>
            </a:extLst>
          </p:cNvPr>
          <p:cNvGrpSpPr>
            <a:grpSpLocks/>
          </p:cNvGrpSpPr>
          <p:nvPr/>
        </p:nvGrpSpPr>
        <p:grpSpPr>
          <a:xfrm>
            <a:off x="9898857" y="3919131"/>
            <a:ext cx="1888331" cy="1887944"/>
            <a:chOff x="5355001" y="3383449"/>
            <a:chExt cx="419530" cy="419444"/>
          </a:xfrm>
        </p:grpSpPr>
        <p:sp>
          <p:nvSpPr>
            <p:cNvPr id="12" name="Rectangle 12">
              <a:extLst>
                <a:ext uri="{FF2B5EF4-FFF2-40B4-BE49-F238E27FC236}">
                  <a16:creationId xmlns:a16="http://schemas.microsoft.com/office/drawing/2014/main" id="{57595EA9-30EA-446D-A73F-1B0C70273C2E}"/>
                </a:ext>
              </a:extLst>
            </p:cNvPr>
            <p:cNvSpPr>
              <a:spLocks/>
            </p:cNvSpPr>
            <p:nvPr/>
          </p:nvSpPr>
          <p:spPr>
            <a:xfrm>
              <a:off x="5355001" y="3383449"/>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 name="Grafik 12" descr="Ein Bild, das Pfeil enthält.&#10;&#10;Beschreibung automatisch generiert.">
              <a:extLst>
                <a:ext uri="{FF2B5EF4-FFF2-40B4-BE49-F238E27FC236}">
                  <a16:creationId xmlns:a16="http://schemas.microsoft.com/office/drawing/2014/main" id="{F8287C99-05B5-4A7B-9F61-F952D81A70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8423" t="38154" r="36423" b="19999"/>
            <a:stretch/>
          </p:blipFill>
          <p:spPr>
            <a:xfrm>
              <a:off x="5355001" y="3414683"/>
              <a:ext cx="365425" cy="341958"/>
            </a:xfrm>
            <a:custGeom>
              <a:avLst/>
              <a:gdLst>
                <a:gd name="connsiteX0" fmla="*/ 1083212 w 3066756"/>
                <a:gd name="connsiteY0" fmla="*/ 168812 h 2869809"/>
                <a:gd name="connsiteX1" fmla="*/ 1111348 w 3066756"/>
                <a:gd name="connsiteY1" fmla="*/ 323557 h 2869809"/>
                <a:gd name="connsiteX2" fmla="*/ 1107502 w 3066756"/>
                <a:gd name="connsiteY2" fmla="*/ 327744 h 2869809"/>
                <a:gd name="connsiteX3" fmla="*/ 1083212 w 3066756"/>
                <a:gd name="connsiteY3" fmla="*/ 337624 h 2869809"/>
                <a:gd name="connsiteX4" fmla="*/ 1913206 w 3066756"/>
                <a:gd name="connsiteY4" fmla="*/ 0 h 2869809"/>
                <a:gd name="connsiteX5" fmla="*/ 2686929 w 3066756"/>
                <a:gd name="connsiteY5" fmla="*/ 464234 h 2869809"/>
                <a:gd name="connsiteX6" fmla="*/ 3066756 w 3066756"/>
                <a:gd name="connsiteY6" fmla="*/ 1336431 h 2869809"/>
                <a:gd name="connsiteX7" fmla="*/ 3066756 w 3066756"/>
                <a:gd name="connsiteY7" fmla="*/ 1533378 h 2869809"/>
                <a:gd name="connsiteX8" fmla="*/ 2349304 w 3066756"/>
                <a:gd name="connsiteY8" fmla="*/ 1547446 h 2869809"/>
                <a:gd name="connsiteX9" fmla="*/ 2307101 w 3066756"/>
                <a:gd name="connsiteY9" fmla="*/ 1899138 h 2869809"/>
                <a:gd name="connsiteX10" fmla="*/ 2883876 w 3066756"/>
                <a:gd name="connsiteY10" fmla="*/ 2321169 h 2869809"/>
                <a:gd name="connsiteX11" fmla="*/ 2560320 w 3066756"/>
                <a:gd name="connsiteY11" fmla="*/ 2644726 h 2869809"/>
                <a:gd name="connsiteX12" fmla="*/ 914400 w 3066756"/>
                <a:gd name="connsiteY12" fmla="*/ 2869809 h 2869809"/>
                <a:gd name="connsiteX13" fmla="*/ 0 w 3066756"/>
                <a:gd name="connsiteY13" fmla="*/ 1533378 h 2869809"/>
                <a:gd name="connsiteX14" fmla="*/ 1107502 w 3066756"/>
                <a:gd name="connsiteY14" fmla="*/ 327744 h 286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6756" h="2869809">
                  <a:moveTo>
                    <a:pt x="1083212" y="168812"/>
                  </a:moveTo>
                  <a:lnTo>
                    <a:pt x="1111348" y="323557"/>
                  </a:lnTo>
                  <a:lnTo>
                    <a:pt x="1107502" y="327744"/>
                  </a:lnTo>
                  <a:lnTo>
                    <a:pt x="1083212" y="337624"/>
                  </a:lnTo>
                  <a:close/>
                  <a:moveTo>
                    <a:pt x="1913206" y="0"/>
                  </a:moveTo>
                  <a:lnTo>
                    <a:pt x="2686929" y="464234"/>
                  </a:lnTo>
                  <a:lnTo>
                    <a:pt x="3066756" y="1336431"/>
                  </a:lnTo>
                  <a:lnTo>
                    <a:pt x="3066756" y="1533378"/>
                  </a:lnTo>
                  <a:lnTo>
                    <a:pt x="2349304" y="1547446"/>
                  </a:lnTo>
                  <a:lnTo>
                    <a:pt x="2307101" y="1899138"/>
                  </a:lnTo>
                  <a:lnTo>
                    <a:pt x="2883876" y="2321169"/>
                  </a:lnTo>
                  <a:lnTo>
                    <a:pt x="2560320" y="2644726"/>
                  </a:lnTo>
                  <a:lnTo>
                    <a:pt x="914400" y="2869809"/>
                  </a:lnTo>
                  <a:lnTo>
                    <a:pt x="0" y="1533378"/>
                  </a:lnTo>
                  <a:lnTo>
                    <a:pt x="1107502" y="327744"/>
                  </a:lnTo>
                  <a:close/>
                </a:path>
              </a:pathLst>
            </a:custGeom>
          </p:spPr>
        </p:pic>
      </p:grpSp>
    </p:spTree>
    <p:extLst>
      <p:ext uri="{BB962C8B-B14F-4D97-AF65-F5344CB8AC3E}">
        <p14:creationId xmlns:p14="http://schemas.microsoft.com/office/powerpoint/2010/main" val="14966984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1DDF72E-30F2-5044-1F20-9EDEE62991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4" name="Objekt 3" hidden="1">
                        <a:extLst>
                          <a:ext uri="{FF2B5EF4-FFF2-40B4-BE49-F238E27FC236}">
                            <a16:creationId xmlns:a16="http://schemas.microsoft.com/office/drawing/2014/main" id="{51DDF72E-30F2-5044-1F20-9EDEE62991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0708D564-E310-4699-019F-74E1C76660DA}"/>
              </a:ext>
            </a:extLst>
          </p:cNvPr>
          <p:cNvSpPr>
            <a:spLocks/>
          </p:cNvSpPr>
          <p:nvPr/>
        </p:nvSpPr>
        <p:spPr>
          <a:xfrm>
            <a:off x="1" y="1414463"/>
            <a:ext cx="12192000"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2" name="Titel 1">
            <a:extLst>
              <a:ext uri="{FF2B5EF4-FFF2-40B4-BE49-F238E27FC236}">
                <a16:creationId xmlns:a16="http://schemas.microsoft.com/office/drawing/2014/main" id="{7407EED2-9B6C-2099-864E-65367B3FCC25}"/>
              </a:ext>
            </a:extLst>
          </p:cNvPr>
          <p:cNvSpPr>
            <a:spLocks noGrp="1"/>
          </p:cNvSpPr>
          <p:nvPr>
            <p:ph type="title"/>
          </p:nvPr>
        </p:nvSpPr>
        <p:spPr/>
        <p:txBody>
          <a:bodyPr vert="horz"/>
          <a:lstStyle/>
          <a:p>
            <a:r>
              <a:rPr lang="en-US"/>
              <a:t>Direct electricity offers the most efficient way to use renewable energy</a:t>
            </a:r>
          </a:p>
        </p:txBody>
      </p:sp>
      <p:pic>
        <p:nvPicPr>
          <p:cNvPr id="6" name="Picture 7">
            <a:extLst>
              <a:ext uri="{FF2B5EF4-FFF2-40B4-BE49-F238E27FC236}">
                <a16:creationId xmlns:a16="http://schemas.microsoft.com/office/drawing/2014/main" id="{126F1310-3AAF-1DE8-91CC-E663000FE91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067303" y="1421408"/>
            <a:ext cx="8124695" cy="4385667"/>
          </a:xfrm>
          <a:prstGeom prst="rect">
            <a:avLst/>
          </a:prstGeom>
        </p:spPr>
      </p:pic>
      <p:sp>
        <p:nvSpPr>
          <p:cNvPr id="15" name="Richtungspfeil 17">
            <a:extLst>
              <a:ext uri="{FF2B5EF4-FFF2-40B4-BE49-F238E27FC236}">
                <a16:creationId xmlns:a16="http://schemas.microsoft.com/office/drawing/2014/main" id="{77B78ADA-64E7-0AD0-E16A-26F986C203FB}"/>
              </a:ext>
            </a:extLst>
          </p:cNvPr>
          <p:cNvSpPr>
            <a:spLocks/>
          </p:cNvSpPr>
          <p:nvPr>
            <p:custDataLst>
              <p:tags r:id="rId2"/>
            </p:custDataLst>
          </p:nvPr>
        </p:nvSpPr>
        <p:spPr bwMode="gray">
          <a:xfrm>
            <a:off x="411163" y="3462831"/>
            <a:ext cx="2874962" cy="646331"/>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Large difference in energy efficiency impacts expected GHG-reductions and fuel cost savings</a:t>
            </a:r>
          </a:p>
        </p:txBody>
      </p:sp>
      <p:sp>
        <p:nvSpPr>
          <p:cNvPr id="16" name="Richtungspfeil 17">
            <a:extLst>
              <a:ext uri="{FF2B5EF4-FFF2-40B4-BE49-F238E27FC236}">
                <a16:creationId xmlns:a16="http://schemas.microsoft.com/office/drawing/2014/main" id="{BC33FF35-42CD-2864-09EE-040D865958F4}"/>
              </a:ext>
            </a:extLst>
          </p:cNvPr>
          <p:cNvSpPr>
            <a:spLocks/>
          </p:cNvSpPr>
          <p:nvPr>
            <p:custDataLst>
              <p:tags r:id="rId3"/>
            </p:custDataLst>
          </p:nvPr>
        </p:nvSpPr>
        <p:spPr bwMode="gray">
          <a:xfrm>
            <a:off x="411163" y="4685131"/>
            <a:ext cx="2874962" cy="646331"/>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Adding losses in transport of fuel makes the difference even starker, especially for H2</a:t>
            </a:r>
          </a:p>
        </p:txBody>
      </p:sp>
      <p:sp>
        <p:nvSpPr>
          <p:cNvPr id="17" name="Richtungspfeil 17">
            <a:extLst>
              <a:ext uri="{FF2B5EF4-FFF2-40B4-BE49-F238E27FC236}">
                <a16:creationId xmlns:a16="http://schemas.microsoft.com/office/drawing/2014/main" id="{56029B66-8D75-E28D-43A8-9F04CD620ED5}"/>
              </a:ext>
            </a:extLst>
          </p:cNvPr>
          <p:cNvSpPr>
            <a:spLocks/>
          </p:cNvSpPr>
          <p:nvPr>
            <p:custDataLst>
              <p:tags r:id="rId4"/>
            </p:custDataLst>
          </p:nvPr>
        </p:nvSpPr>
        <p:spPr bwMode="gray">
          <a:xfrm>
            <a:off x="411163" y="1771172"/>
            <a:ext cx="2874962" cy="1115690"/>
          </a:xfrm>
          <a:prstGeom prst="rect">
            <a:avLst/>
          </a:prstGeom>
        </p:spPr>
        <p:txBody>
          <a:bodyPr vert="horz" wrap="square" lIns="0" tIns="0" rIns="0" bIns="0" rtlCol="0">
            <a:spAutoFit/>
          </a:bodyPr>
          <a:lstStyle/>
          <a:p>
            <a:pPr defTabSz="913943" fontAlgn="base">
              <a:spcAft>
                <a:spcPts val="1200"/>
              </a:spcAft>
            </a:pPr>
            <a:r>
              <a:rPr lang="en-US" b="1" dirty="0">
                <a:solidFill>
                  <a:schemeClr val="accent2">
                    <a:lumMod val="100000"/>
                  </a:schemeClr>
                </a:solidFill>
                <a:latin typeface="Arial" panose="020B0604020202020204" pitchFamily="34" charset="0"/>
              </a:rPr>
              <a:t>Energy efficiency is key</a:t>
            </a:r>
            <a:r>
              <a:rPr lang="en-US" dirty="0">
                <a:solidFill>
                  <a:schemeClr val="accent2">
                    <a:lumMod val="100000"/>
                  </a:schemeClr>
                </a:solidFill>
                <a:latin typeface="Arial" panose="020B0604020202020204" pitchFamily="34" charset="0"/>
              </a:rPr>
              <a:t>:</a:t>
            </a:r>
          </a:p>
          <a:p>
            <a:pPr marL="180000" lvl="1" indent="-180000" fontAlgn="base">
              <a:spcAft>
                <a:spcPts val="300"/>
              </a:spcAft>
              <a:buClr>
                <a:srgbClr val="9999A9"/>
              </a:buClr>
              <a:buSzPct val="100000"/>
              <a:buFont typeface="Arial" pitchFamily="34" charset="0"/>
              <a:buChar char="•"/>
              <a:defRPr/>
            </a:pPr>
            <a:r>
              <a:rPr lang="en-US" sz="1400" dirty="0">
                <a:solidFill>
                  <a:schemeClr val="bg1">
                    <a:lumMod val="85000"/>
                  </a:schemeClr>
                </a:solidFill>
              </a:rPr>
              <a:t>Fuel cost large part of TCO</a:t>
            </a:r>
          </a:p>
          <a:p>
            <a:pPr marL="180000" lvl="1" indent="-180000" fontAlgn="base">
              <a:spcAft>
                <a:spcPts val="300"/>
              </a:spcAft>
              <a:buClr>
                <a:srgbClr val="9999A9"/>
              </a:buClr>
              <a:buSzPct val="100000"/>
              <a:buFont typeface="Arial" pitchFamily="34" charset="0"/>
              <a:buChar char="•"/>
              <a:defRPr/>
            </a:pPr>
            <a:r>
              <a:rPr lang="en-US" sz="1400" dirty="0">
                <a:solidFill>
                  <a:schemeClr val="bg1">
                    <a:lumMod val="85000"/>
                  </a:schemeClr>
                </a:solidFill>
              </a:rPr>
              <a:t>Renewable energy still limited</a:t>
            </a:r>
            <a:br>
              <a:rPr lang="en-US" sz="1400" dirty="0">
                <a:solidFill>
                  <a:schemeClr val="bg1">
                    <a:lumMod val="85000"/>
                  </a:schemeClr>
                </a:solidFill>
              </a:rPr>
            </a:br>
            <a:r>
              <a:rPr lang="en-US" sz="1400" dirty="0">
                <a:solidFill>
                  <a:schemeClr val="bg1">
                    <a:lumMod val="85000"/>
                  </a:schemeClr>
                </a:solidFill>
              </a:rPr>
              <a:t>in availability</a:t>
            </a:r>
          </a:p>
        </p:txBody>
      </p:sp>
      <p:cxnSp>
        <p:nvCxnSpPr>
          <p:cNvPr id="19" name="Gerader Verbinder 18">
            <a:extLst>
              <a:ext uri="{FF2B5EF4-FFF2-40B4-BE49-F238E27FC236}">
                <a16:creationId xmlns:a16="http://schemas.microsoft.com/office/drawing/2014/main" id="{062FE918-15EB-0548-4CD8-5675EF7E1970}"/>
              </a:ext>
            </a:extLst>
          </p:cNvPr>
          <p:cNvCxnSpPr>
            <a:cxnSpLocks/>
          </p:cNvCxnSpPr>
          <p:nvPr/>
        </p:nvCxnSpPr>
        <p:spPr>
          <a:xfrm>
            <a:off x="411163" y="3174847"/>
            <a:ext cx="2874962" cy="0"/>
          </a:xfrm>
          <a:prstGeom prst="line">
            <a:avLst/>
          </a:prstGeom>
          <a:ln w="9525">
            <a:solidFill>
              <a:srgbClr val="000028"/>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2F798B1-E681-1429-69B7-9A5B38BAF0B6}"/>
              </a:ext>
            </a:extLst>
          </p:cNvPr>
          <p:cNvCxnSpPr>
            <a:cxnSpLocks/>
          </p:cNvCxnSpPr>
          <p:nvPr/>
        </p:nvCxnSpPr>
        <p:spPr>
          <a:xfrm>
            <a:off x="411163" y="4397147"/>
            <a:ext cx="2874962" cy="0"/>
          </a:xfrm>
          <a:prstGeom prst="line">
            <a:avLst/>
          </a:prstGeom>
          <a:ln w="9525">
            <a:solidFill>
              <a:srgbClr val="000028"/>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3171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extLst>
              <p:ext uri="{D42A27DB-BD31-4B8C-83A1-F6EECF244321}">
                <p14:modId xmlns:p14="http://schemas.microsoft.com/office/powerpoint/2010/main" val="411232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costofownership</a:t>
            </a:r>
          </a:p>
        </p:txBody>
      </p:sp>
      <p:grpSp>
        <p:nvGrpSpPr>
          <p:cNvPr id="10" name="Gruppieren 9">
            <a:extLst>
              <a:ext uri="{FF2B5EF4-FFF2-40B4-BE49-F238E27FC236}">
                <a16:creationId xmlns:a16="http://schemas.microsoft.com/office/drawing/2014/main" id="{B40D8A02-7DCE-4703-A612-110D3E490B3A}"/>
              </a:ext>
            </a:extLst>
          </p:cNvPr>
          <p:cNvGrpSpPr>
            <a:grpSpLocks/>
          </p:cNvGrpSpPr>
          <p:nvPr/>
        </p:nvGrpSpPr>
        <p:grpSpPr>
          <a:xfrm>
            <a:off x="9898857" y="3919131"/>
            <a:ext cx="1888331" cy="1887944"/>
            <a:chOff x="5355001" y="3976957"/>
            <a:chExt cx="419530" cy="419444"/>
          </a:xfrm>
        </p:grpSpPr>
        <p:sp>
          <p:nvSpPr>
            <p:cNvPr id="11" name="Rectangle 12">
              <a:extLst>
                <a:ext uri="{FF2B5EF4-FFF2-40B4-BE49-F238E27FC236}">
                  <a16:creationId xmlns:a16="http://schemas.microsoft.com/office/drawing/2014/main" id="{FFCEC2AB-F425-4A34-AE51-0A407BFB4B7C}"/>
                </a:ext>
              </a:extLst>
            </p:cNvPr>
            <p:cNvSpPr>
              <a:spLocks/>
            </p:cNvSpPr>
            <p:nvPr/>
          </p:nvSpPr>
          <p:spPr>
            <a:xfrm>
              <a:off x="5355001" y="3976957"/>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 name="Grafik 12" descr="Ein Bild, das Pfeil enthält.&#10;&#10;Beschreibung automatisch generiert.">
              <a:extLst>
                <a:ext uri="{FF2B5EF4-FFF2-40B4-BE49-F238E27FC236}">
                  <a16:creationId xmlns:a16="http://schemas.microsoft.com/office/drawing/2014/main" id="{64BFDF0D-6EC0-4CD0-8CCA-B3944BAD7BE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3542" t="41675" r="30520" b="15732"/>
            <a:stretch/>
          </p:blipFill>
          <p:spPr>
            <a:xfrm>
              <a:off x="5376424" y="4012709"/>
              <a:ext cx="376684" cy="347941"/>
            </a:xfrm>
            <a:custGeom>
              <a:avLst/>
              <a:gdLst>
                <a:gd name="connsiteX0" fmla="*/ 2540000 w 3162300"/>
                <a:gd name="connsiteY0" fmla="*/ 0 h 2921000"/>
                <a:gd name="connsiteX1" fmla="*/ 3162300 w 3162300"/>
                <a:gd name="connsiteY1" fmla="*/ 1066800 h 2921000"/>
                <a:gd name="connsiteX2" fmla="*/ 2819400 w 3162300"/>
                <a:gd name="connsiteY2" fmla="*/ 1422400 h 2921000"/>
                <a:gd name="connsiteX3" fmla="*/ 1955800 w 3162300"/>
                <a:gd name="connsiteY3" fmla="*/ 1587500 h 2921000"/>
                <a:gd name="connsiteX4" fmla="*/ 1930400 w 3162300"/>
                <a:gd name="connsiteY4" fmla="*/ 2413000 h 2921000"/>
                <a:gd name="connsiteX5" fmla="*/ 2908300 w 3162300"/>
                <a:gd name="connsiteY5" fmla="*/ 2616200 h 2921000"/>
                <a:gd name="connsiteX6" fmla="*/ 2895600 w 3162300"/>
                <a:gd name="connsiteY6" fmla="*/ 2921000 h 2921000"/>
                <a:gd name="connsiteX7" fmla="*/ 165100 w 3162300"/>
                <a:gd name="connsiteY7" fmla="*/ 2857500 h 2921000"/>
                <a:gd name="connsiteX8" fmla="*/ 736600 w 3162300"/>
                <a:gd name="connsiteY8" fmla="*/ 2184400 h 2921000"/>
                <a:gd name="connsiteX9" fmla="*/ 0 w 3162300"/>
                <a:gd name="connsiteY9" fmla="*/ 1790700 h 2921000"/>
                <a:gd name="connsiteX10" fmla="*/ 127001 w 3162300"/>
                <a:gd name="connsiteY10" fmla="*/ 495300 h 2921000"/>
                <a:gd name="connsiteX11" fmla="*/ 266701 w 3162300"/>
                <a:gd name="connsiteY11" fmla="*/ 469900 h 29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2300" h="2921000">
                  <a:moveTo>
                    <a:pt x="2540000" y="0"/>
                  </a:moveTo>
                  <a:lnTo>
                    <a:pt x="3162300" y="1066800"/>
                  </a:lnTo>
                  <a:lnTo>
                    <a:pt x="2819400" y="1422400"/>
                  </a:lnTo>
                  <a:lnTo>
                    <a:pt x="1955800" y="1587500"/>
                  </a:lnTo>
                  <a:lnTo>
                    <a:pt x="1930400" y="2413000"/>
                  </a:lnTo>
                  <a:lnTo>
                    <a:pt x="2908300" y="2616200"/>
                  </a:lnTo>
                  <a:lnTo>
                    <a:pt x="2895600" y="2921000"/>
                  </a:lnTo>
                  <a:lnTo>
                    <a:pt x="165100" y="2857500"/>
                  </a:lnTo>
                  <a:lnTo>
                    <a:pt x="736600" y="2184400"/>
                  </a:lnTo>
                  <a:lnTo>
                    <a:pt x="0" y="1790700"/>
                  </a:lnTo>
                  <a:lnTo>
                    <a:pt x="127001" y="495300"/>
                  </a:lnTo>
                  <a:lnTo>
                    <a:pt x="266701" y="469900"/>
                  </a:lnTo>
                  <a:close/>
                </a:path>
              </a:pathLst>
            </a:custGeom>
          </p:spPr>
        </p:pic>
      </p:grpSp>
    </p:spTree>
    <p:extLst>
      <p:ext uri="{BB962C8B-B14F-4D97-AF65-F5344CB8AC3E}">
        <p14:creationId xmlns:p14="http://schemas.microsoft.com/office/powerpoint/2010/main" val="1805290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feld 2">
            <a:extLst>
              <a:ext uri="{FF2B5EF4-FFF2-40B4-BE49-F238E27FC236}">
                <a16:creationId xmlns:a16="http://schemas.microsoft.com/office/drawing/2014/main" id="{E4DD30BC-C76A-E01E-876D-00ABCECEFB3D}"/>
              </a:ext>
            </a:extLst>
          </p:cNvPr>
          <p:cNvSpPr txBox="1">
            <a:spLocks/>
          </p:cNvSpPr>
          <p:nvPr/>
        </p:nvSpPr>
        <p:spPr>
          <a:xfrm>
            <a:off x="411163" y="6135301"/>
            <a:ext cx="6096000" cy="140488"/>
          </a:xfrm>
          <a:prstGeom prst="rect">
            <a:avLst/>
          </a:prstGeom>
          <a:noFill/>
        </p:spPr>
        <p:txBody>
          <a:bodyPr wrap="square" lIns="0" tIns="0" rIns="0" bIns="0">
            <a:noAutofit/>
          </a:bodyPr>
          <a:lstStyle/>
          <a:p>
            <a:pPr defTabSz="515164">
              <a:lnSpc>
                <a:spcPct val="110000"/>
              </a:lnSpc>
              <a:defRPr/>
            </a:pPr>
            <a:r>
              <a:rPr lang="en-US" sz="900" b="1" dirty="0">
                <a:solidFill>
                  <a:schemeClr val="bg1"/>
                </a:solidFill>
              </a:rPr>
              <a:t>Source:</a:t>
            </a:r>
            <a:r>
              <a:rPr lang="en-US" sz="900" dirty="0">
                <a:solidFill>
                  <a:schemeClr val="bg1"/>
                </a:solidFill>
                <a:latin typeface="Arial"/>
                <a:ea typeface="Arial Unicode MS" panose="020B0604020202020204" pitchFamily="34" charset="-128"/>
                <a:cs typeface="Arial Unicode MS" panose="020B0604020202020204" pitchFamily="34" charset="-128"/>
              </a:rPr>
              <a:t> </a:t>
            </a:r>
            <a:r>
              <a:rPr lang="en-US" sz="900" dirty="0">
                <a:solidFill>
                  <a:schemeClr val="accent3"/>
                </a:solidFill>
                <a:latin typeface="Arial"/>
                <a:ea typeface="Arial Unicode MS" panose="020B0604020202020204" pitchFamily="34" charset="-128"/>
                <a:cs typeface="Arial Unicode MS" panose="020B0604020202020204" pitchFamily="34" charset="-128"/>
                <a:hlinkClick r:id="rId5">
                  <a:extLst>
                    <a:ext uri="{A12FA001-AC4F-418D-AE19-62706E023703}">
                      <ahyp:hlinkClr xmlns:ahyp="http://schemas.microsoft.com/office/drawing/2018/hyperlinkcolor" val="tx"/>
                    </a:ext>
                  </a:extLst>
                </a:hlinkClick>
              </a:rPr>
              <a:t>https://www.plattform-zukunft-mobilitaet.de/wp-content/uploads/2020/12/NPM_AG1_Werkstattbericht_Nfz.pdf</a:t>
            </a:r>
            <a:r>
              <a:rPr lang="en-US" sz="900" dirty="0">
                <a:solidFill>
                  <a:schemeClr val="accent3"/>
                </a:solidFill>
                <a:latin typeface="Arial"/>
                <a:ea typeface="Arial Unicode MS" panose="020B0604020202020204" pitchFamily="34" charset="-128"/>
                <a:cs typeface="Arial Unicode MS" panose="020B0604020202020204" pitchFamily="34" charset="-128"/>
              </a:rPr>
              <a:t> </a:t>
            </a:r>
          </a:p>
        </p:txBody>
      </p:sp>
      <p:graphicFrame>
        <p:nvGraphicFramePr>
          <p:cNvPr id="4" name="Objekt 3" hidden="1">
            <a:extLst>
              <a:ext uri="{FF2B5EF4-FFF2-40B4-BE49-F238E27FC236}">
                <a16:creationId xmlns:a16="http://schemas.microsoft.com/office/drawing/2014/main" id="{E1B7380A-5139-20F4-94B2-FFCA7DDABB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4" name="Objekt 3" hidden="1">
                        <a:extLst>
                          <a:ext uri="{FF2B5EF4-FFF2-40B4-BE49-F238E27FC236}">
                            <a16:creationId xmlns:a16="http://schemas.microsoft.com/office/drawing/2014/main" id="{E1B7380A-5139-20F4-94B2-FFCA7DDABB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6" name="Rechteck 75">
            <a:extLst>
              <a:ext uri="{FF2B5EF4-FFF2-40B4-BE49-F238E27FC236}">
                <a16:creationId xmlns:a16="http://schemas.microsoft.com/office/drawing/2014/main" id="{1A8DD905-7F63-4A02-8C0A-CF6834CCAFF5}"/>
              </a:ext>
            </a:extLst>
          </p:cNvPr>
          <p:cNvSpPr>
            <a:spLocks/>
          </p:cNvSpPr>
          <p:nvPr/>
        </p:nvSpPr>
        <p:spPr>
          <a:xfrm>
            <a:off x="1" y="1414463"/>
            <a:ext cx="4010024"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2" name="Titel 1">
            <a:extLst>
              <a:ext uri="{FF2B5EF4-FFF2-40B4-BE49-F238E27FC236}">
                <a16:creationId xmlns:a16="http://schemas.microsoft.com/office/drawing/2014/main" id="{75DFF171-A7AC-1C9C-387D-224C9F76D81A}"/>
              </a:ext>
            </a:extLst>
          </p:cNvPr>
          <p:cNvSpPr>
            <a:spLocks noGrp="1"/>
          </p:cNvSpPr>
          <p:nvPr>
            <p:ph type="title"/>
          </p:nvPr>
        </p:nvSpPr>
        <p:spPr/>
        <p:txBody>
          <a:bodyPr vert="horz"/>
          <a:lstStyle/>
          <a:p>
            <a:r>
              <a:rPr lang="en-US"/>
              <a:t>Cost of energy is by far the most important factor in the total cost picture</a:t>
            </a:r>
          </a:p>
        </p:txBody>
      </p:sp>
      <p:sp>
        <p:nvSpPr>
          <p:cNvPr id="46" name="TextBox 36">
            <a:extLst>
              <a:ext uri="{FF2B5EF4-FFF2-40B4-BE49-F238E27FC236}">
                <a16:creationId xmlns:a16="http://schemas.microsoft.com/office/drawing/2014/main" id="{EF1FC5FB-74A2-2293-6328-8E5404572728}"/>
              </a:ext>
            </a:extLst>
          </p:cNvPr>
          <p:cNvSpPr txBox="1">
            <a:spLocks/>
          </p:cNvSpPr>
          <p:nvPr/>
        </p:nvSpPr>
        <p:spPr>
          <a:xfrm rot="16200000">
            <a:off x="3166969" y="3943118"/>
            <a:ext cx="2798254" cy="307777"/>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Accumulated costs (2020 – 2050) in € bn (compared to fossil fuels)</a:t>
            </a:r>
          </a:p>
        </p:txBody>
      </p:sp>
      <p:sp>
        <p:nvSpPr>
          <p:cNvPr id="47" name="TextBox 36">
            <a:extLst>
              <a:ext uri="{FF2B5EF4-FFF2-40B4-BE49-F238E27FC236}">
                <a16:creationId xmlns:a16="http://schemas.microsoft.com/office/drawing/2014/main" id="{B2135DD2-8ABA-B3EA-4D46-41EB0FBDD265}"/>
              </a:ext>
            </a:extLst>
          </p:cNvPr>
          <p:cNvSpPr txBox="1">
            <a:spLocks/>
          </p:cNvSpPr>
          <p:nvPr/>
        </p:nvSpPr>
        <p:spPr>
          <a:xfrm>
            <a:off x="4298951" y="1617662"/>
            <a:ext cx="7488238" cy="55399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b="1">
                <a:solidFill>
                  <a:schemeClr val="accent2"/>
                </a:solidFill>
              </a:rPr>
              <a:t>Overall costs of carbon neutral road freight transport until 2050: </a:t>
            </a:r>
            <a:r>
              <a:rPr lang="en-US">
                <a:solidFill>
                  <a:schemeClr val="bg1">
                    <a:lumMod val="85000"/>
                  </a:schemeClr>
                </a:solidFill>
              </a:rPr>
              <a:t>energy costs of particular importance</a:t>
            </a:r>
          </a:p>
        </p:txBody>
      </p:sp>
      <p:grpSp>
        <p:nvGrpSpPr>
          <p:cNvPr id="6" name="Gruppieren 5">
            <a:extLst>
              <a:ext uri="{FF2B5EF4-FFF2-40B4-BE49-F238E27FC236}">
                <a16:creationId xmlns:a16="http://schemas.microsoft.com/office/drawing/2014/main" id="{22AAE5C8-C783-D301-CD13-9479A9E360E4}"/>
              </a:ext>
            </a:extLst>
          </p:cNvPr>
          <p:cNvGrpSpPr/>
          <p:nvPr/>
        </p:nvGrpSpPr>
        <p:grpSpPr>
          <a:xfrm>
            <a:off x="4757903" y="2596699"/>
            <a:ext cx="7020565" cy="3197364"/>
            <a:chOff x="4757903" y="2146759"/>
            <a:chExt cx="7020565" cy="3197364"/>
          </a:xfrm>
        </p:grpSpPr>
        <p:cxnSp>
          <p:nvCxnSpPr>
            <p:cNvPr id="5" name="Gerader Verbinder 4">
              <a:extLst>
                <a:ext uri="{FF2B5EF4-FFF2-40B4-BE49-F238E27FC236}">
                  <a16:creationId xmlns:a16="http://schemas.microsoft.com/office/drawing/2014/main" id="{E43D61D1-151E-025E-92D1-F2FCAEA4CD3A}"/>
                </a:ext>
              </a:extLst>
            </p:cNvPr>
            <p:cNvCxnSpPr>
              <a:cxnSpLocks/>
            </p:cNvCxnSpPr>
            <p:nvPr/>
          </p:nvCxnSpPr>
          <p:spPr>
            <a:xfrm>
              <a:off x="5221057" y="5003800"/>
              <a:ext cx="6557411"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 name="Rechteck 16">
              <a:extLst>
                <a:ext uri="{FF2B5EF4-FFF2-40B4-BE49-F238E27FC236}">
                  <a16:creationId xmlns:a16="http://schemas.microsoft.com/office/drawing/2014/main" id="{4728519E-C065-DCDA-A5F2-CF57D0F43A4E}"/>
                </a:ext>
              </a:extLst>
            </p:cNvPr>
            <p:cNvSpPr/>
            <p:nvPr/>
          </p:nvSpPr>
          <p:spPr>
            <a:xfrm>
              <a:off x="5291086" y="3779044"/>
              <a:ext cx="306516" cy="12176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8" name="Rechteck 17">
              <a:extLst>
                <a:ext uri="{FF2B5EF4-FFF2-40B4-BE49-F238E27FC236}">
                  <a16:creationId xmlns:a16="http://schemas.microsoft.com/office/drawing/2014/main" id="{45A705DD-AD9D-5865-15E5-845F26DB2F3E}"/>
                </a:ext>
              </a:extLst>
            </p:cNvPr>
            <p:cNvSpPr>
              <a:spLocks/>
            </p:cNvSpPr>
            <p:nvPr/>
          </p:nvSpPr>
          <p:spPr>
            <a:xfrm>
              <a:off x="5738807" y="4421980"/>
              <a:ext cx="306516" cy="5746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9" name="Rechteck 18">
              <a:extLst>
                <a:ext uri="{FF2B5EF4-FFF2-40B4-BE49-F238E27FC236}">
                  <a16:creationId xmlns:a16="http://schemas.microsoft.com/office/drawing/2014/main" id="{30B8F836-AF46-B606-7547-CA6BA539276B}"/>
                </a:ext>
              </a:extLst>
            </p:cNvPr>
            <p:cNvSpPr>
              <a:spLocks/>
            </p:cNvSpPr>
            <p:nvPr/>
          </p:nvSpPr>
          <p:spPr>
            <a:xfrm>
              <a:off x="6186529" y="4106422"/>
              <a:ext cx="306516" cy="8902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0" name="Rechteck 19">
              <a:extLst>
                <a:ext uri="{FF2B5EF4-FFF2-40B4-BE49-F238E27FC236}">
                  <a16:creationId xmlns:a16="http://schemas.microsoft.com/office/drawing/2014/main" id="{A72158B0-E271-B016-3597-79C495D5CA42}"/>
                </a:ext>
              </a:extLst>
            </p:cNvPr>
            <p:cNvSpPr/>
            <p:nvPr/>
          </p:nvSpPr>
          <p:spPr>
            <a:xfrm>
              <a:off x="5291086" y="3428207"/>
              <a:ext cx="306516" cy="350838"/>
            </a:xfrm>
            <a:prstGeom prst="rect">
              <a:avLst/>
            </a:prstGeom>
            <a:pattFill prst="wdUpDiag">
              <a:fgClr>
                <a:schemeClr val="accent2"/>
              </a:fgClr>
              <a:bgClr>
                <a:srgbClr val="01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1" name="Rechteck 20">
              <a:extLst>
                <a:ext uri="{FF2B5EF4-FFF2-40B4-BE49-F238E27FC236}">
                  <a16:creationId xmlns:a16="http://schemas.microsoft.com/office/drawing/2014/main" id="{086939DE-5F96-8CC1-C9B2-F1B6A4C2B464}"/>
                </a:ext>
              </a:extLst>
            </p:cNvPr>
            <p:cNvSpPr/>
            <p:nvPr/>
          </p:nvSpPr>
          <p:spPr>
            <a:xfrm>
              <a:off x="5738807" y="4344760"/>
              <a:ext cx="306516" cy="77220"/>
            </a:xfrm>
            <a:prstGeom prst="rect">
              <a:avLst/>
            </a:prstGeom>
            <a:pattFill prst="wdUpDiag">
              <a:fgClr>
                <a:schemeClr val="accent1"/>
              </a:fgClr>
              <a:bgClr>
                <a:srgbClr val="01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2" name="Rechteck 21">
              <a:extLst>
                <a:ext uri="{FF2B5EF4-FFF2-40B4-BE49-F238E27FC236}">
                  <a16:creationId xmlns:a16="http://schemas.microsoft.com/office/drawing/2014/main" id="{D7200E1E-66EA-AB73-3F54-2D0C87F5EC30}"/>
                </a:ext>
              </a:extLst>
            </p:cNvPr>
            <p:cNvSpPr/>
            <p:nvPr/>
          </p:nvSpPr>
          <p:spPr>
            <a:xfrm>
              <a:off x="6186529" y="3895727"/>
              <a:ext cx="306516" cy="216183"/>
            </a:xfrm>
            <a:prstGeom prst="rect">
              <a:avLst/>
            </a:prstGeom>
            <a:pattFill prst="wdUpDiag">
              <a:fgClr>
                <a:schemeClr val="accent3"/>
              </a:fgClr>
              <a:bgClr>
                <a:srgbClr val="01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6" name="Rechteck 25">
              <a:extLst>
                <a:ext uri="{FF2B5EF4-FFF2-40B4-BE49-F238E27FC236}">
                  <a16:creationId xmlns:a16="http://schemas.microsoft.com/office/drawing/2014/main" id="{C14894A9-3875-2181-96B5-A452EA7E14CB}"/>
                </a:ext>
              </a:extLst>
            </p:cNvPr>
            <p:cNvSpPr/>
            <p:nvPr/>
          </p:nvSpPr>
          <p:spPr>
            <a:xfrm>
              <a:off x="7487792" y="4802983"/>
              <a:ext cx="306516" cy="193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7" name="Rechteck 26">
              <a:extLst>
                <a:ext uri="{FF2B5EF4-FFF2-40B4-BE49-F238E27FC236}">
                  <a16:creationId xmlns:a16="http://schemas.microsoft.com/office/drawing/2014/main" id="{351A1D76-749B-E766-04BF-F1AD89C47FE4}"/>
                </a:ext>
              </a:extLst>
            </p:cNvPr>
            <p:cNvSpPr/>
            <p:nvPr/>
          </p:nvSpPr>
          <p:spPr>
            <a:xfrm>
              <a:off x="7935513" y="4481515"/>
              <a:ext cx="306516" cy="5151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8" name="Rechteck 27">
              <a:extLst>
                <a:ext uri="{FF2B5EF4-FFF2-40B4-BE49-F238E27FC236}">
                  <a16:creationId xmlns:a16="http://schemas.microsoft.com/office/drawing/2014/main" id="{CC4F2855-CBCF-D616-9155-BB93F0124CD8}"/>
                </a:ext>
              </a:extLst>
            </p:cNvPr>
            <p:cNvSpPr>
              <a:spLocks/>
            </p:cNvSpPr>
            <p:nvPr/>
          </p:nvSpPr>
          <p:spPr>
            <a:xfrm>
              <a:off x="9229889" y="4802983"/>
              <a:ext cx="306516" cy="1936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9" name="Rechteck 28">
              <a:extLst>
                <a:ext uri="{FF2B5EF4-FFF2-40B4-BE49-F238E27FC236}">
                  <a16:creationId xmlns:a16="http://schemas.microsoft.com/office/drawing/2014/main" id="{0A10840B-32D6-0B84-C416-3373DB1D43BC}"/>
                </a:ext>
              </a:extLst>
            </p:cNvPr>
            <p:cNvSpPr>
              <a:spLocks/>
            </p:cNvSpPr>
            <p:nvPr/>
          </p:nvSpPr>
          <p:spPr>
            <a:xfrm>
              <a:off x="9677610" y="4362450"/>
              <a:ext cx="306516" cy="6341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0" name="Rechteck 29">
              <a:extLst>
                <a:ext uri="{FF2B5EF4-FFF2-40B4-BE49-F238E27FC236}">
                  <a16:creationId xmlns:a16="http://schemas.microsoft.com/office/drawing/2014/main" id="{CED61D8C-5C82-E14F-830E-C50649475692}"/>
                </a:ext>
              </a:extLst>
            </p:cNvPr>
            <p:cNvSpPr/>
            <p:nvPr/>
          </p:nvSpPr>
          <p:spPr>
            <a:xfrm>
              <a:off x="9677610" y="3724275"/>
              <a:ext cx="306516" cy="634197"/>
            </a:xfrm>
            <a:prstGeom prst="rect">
              <a:avLst/>
            </a:prstGeom>
            <a:pattFill prst="wdUpDiag">
              <a:fgClr>
                <a:schemeClr val="accent3"/>
              </a:fgClr>
              <a:bgClr>
                <a:srgbClr val="00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1" name="Rechteck 30">
              <a:extLst>
                <a:ext uri="{FF2B5EF4-FFF2-40B4-BE49-F238E27FC236}">
                  <a16:creationId xmlns:a16="http://schemas.microsoft.com/office/drawing/2014/main" id="{B93B2C12-473E-6A30-A3CF-88451FA2B0D5}"/>
                </a:ext>
              </a:extLst>
            </p:cNvPr>
            <p:cNvSpPr>
              <a:spLocks/>
            </p:cNvSpPr>
            <p:nvPr/>
          </p:nvSpPr>
          <p:spPr>
            <a:xfrm>
              <a:off x="10549230" y="3779044"/>
              <a:ext cx="306516" cy="1217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2" name="Rechteck 31">
              <a:extLst>
                <a:ext uri="{FF2B5EF4-FFF2-40B4-BE49-F238E27FC236}">
                  <a16:creationId xmlns:a16="http://schemas.microsoft.com/office/drawing/2014/main" id="{13168873-A0A2-CFD2-7FDC-6A5863F1F4F2}"/>
                </a:ext>
              </a:extLst>
            </p:cNvPr>
            <p:cNvSpPr>
              <a:spLocks/>
            </p:cNvSpPr>
            <p:nvPr/>
          </p:nvSpPr>
          <p:spPr>
            <a:xfrm>
              <a:off x="10996952" y="4012407"/>
              <a:ext cx="306516" cy="984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3" name="Rechteck 32">
              <a:extLst>
                <a:ext uri="{FF2B5EF4-FFF2-40B4-BE49-F238E27FC236}">
                  <a16:creationId xmlns:a16="http://schemas.microsoft.com/office/drawing/2014/main" id="{510C5A0A-DB06-6658-01AF-167151D9C5EC}"/>
                </a:ext>
              </a:extLst>
            </p:cNvPr>
            <p:cNvSpPr>
              <a:spLocks/>
            </p:cNvSpPr>
            <p:nvPr/>
          </p:nvSpPr>
          <p:spPr>
            <a:xfrm>
              <a:off x="11444674" y="2804311"/>
              <a:ext cx="306516" cy="21923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4" name="Rechteck 33">
              <a:extLst>
                <a:ext uri="{FF2B5EF4-FFF2-40B4-BE49-F238E27FC236}">
                  <a16:creationId xmlns:a16="http://schemas.microsoft.com/office/drawing/2014/main" id="{8A43CEA6-ADB5-B0C7-9844-9AF1B3CACEB8}"/>
                </a:ext>
              </a:extLst>
            </p:cNvPr>
            <p:cNvSpPr>
              <a:spLocks/>
            </p:cNvSpPr>
            <p:nvPr/>
          </p:nvSpPr>
          <p:spPr>
            <a:xfrm>
              <a:off x="10549230" y="3419087"/>
              <a:ext cx="306516" cy="359958"/>
            </a:xfrm>
            <a:prstGeom prst="rect">
              <a:avLst/>
            </a:prstGeom>
            <a:pattFill prst="wdUpDiag">
              <a:fgClr>
                <a:schemeClr val="accent2"/>
              </a:fgClr>
              <a:bgClr>
                <a:srgbClr val="00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5" name="Rechteck 34">
              <a:extLst>
                <a:ext uri="{FF2B5EF4-FFF2-40B4-BE49-F238E27FC236}">
                  <a16:creationId xmlns:a16="http://schemas.microsoft.com/office/drawing/2014/main" id="{18E62A04-31C7-E5EA-2DE7-CC8B8BEE9F2E}"/>
                </a:ext>
              </a:extLst>
            </p:cNvPr>
            <p:cNvSpPr>
              <a:spLocks/>
            </p:cNvSpPr>
            <p:nvPr/>
          </p:nvSpPr>
          <p:spPr>
            <a:xfrm>
              <a:off x="10996952" y="3962535"/>
              <a:ext cx="306516" cy="45719"/>
            </a:xfrm>
            <a:prstGeom prst="rect">
              <a:avLst/>
            </a:prstGeom>
            <a:pattFill prst="wdUpDiag">
              <a:fgClr>
                <a:schemeClr val="accent1"/>
              </a:fgClr>
              <a:bgClr>
                <a:srgbClr val="00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6" name="Rechteck 35">
              <a:extLst>
                <a:ext uri="{FF2B5EF4-FFF2-40B4-BE49-F238E27FC236}">
                  <a16:creationId xmlns:a16="http://schemas.microsoft.com/office/drawing/2014/main" id="{5E357DE9-A745-3CB0-EA82-81821B8BA115}"/>
                </a:ext>
              </a:extLst>
            </p:cNvPr>
            <p:cNvSpPr>
              <a:spLocks/>
            </p:cNvSpPr>
            <p:nvPr/>
          </p:nvSpPr>
          <p:spPr>
            <a:xfrm>
              <a:off x="11444674" y="2328071"/>
              <a:ext cx="306516" cy="474821"/>
            </a:xfrm>
            <a:prstGeom prst="rect">
              <a:avLst/>
            </a:prstGeom>
            <a:pattFill prst="wdUpDiag">
              <a:fgClr>
                <a:schemeClr val="accent3"/>
              </a:fgClr>
              <a:bgClr>
                <a:srgbClr val="000028"/>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7" name="TextBox 36">
              <a:extLst>
                <a:ext uri="{FF2B5EF4-FFF2-40B4-BE49-F238E27FC236}">
                  <a16:creationId xmlns:a16="http://schemas.microsoft.com/office/drawing/2014/main" id="{AF8586B4-3298-3865-8A25-9D2C50BC0303}"/>
                </a:ext>
              </a:extLst>
            </p:cNvPr>
            <p:cNvSpPr txBox="1">
              <a:spLocks/>
            </p:cNvSpPr>
            <p:nvPr/>
          </p:nvSpPr>
          <p:spPr>
            <a:xfrm>
              <a:off x="10654271" y="5063230"/>
              <a:ext cx="991877" cy="134341"/>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Total cost</a:t>
              </a:r>
            </a:p>
          </p:txBody>
        </p:sp>
        <p:sp>
          <p:nvSpPr>
            <p:cNvPr id="38" name="TextBox 36">
              <a:extLst>
                <a:ext uri="{FF2B5EF4-FFF2-40B4-BE49-F238E27FC236}">
                  <a16:creationId xmlns:a16="http://schemas.microsoft.com/office/drawing/2014/main" id="{8131C2F5-8C6B-3D63-AA8D-F0853EE4CC4E}"/>
                </a:ext>
              </a:extLst>
            </p:cNvPr>
            <p:cNvSpPr txBox="1">
              <a:spLocks/>
            </p:cNvSpPr>
            <p:nvPr/>
          </p:nvSpPr>
          <p:spPr>
            <a:xfrm>
              <a:off x="9088398" y="5054938"/>
              <a:ext cx="991877" cy="134341"/>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Vehicle</a:t>
              </a:r>
            </a:p>
          </p:txBody>
        </p:sp>
        <p:sp>
          <p:nvSpPr>
            <p:cNvPr id="39" name="TextBox 36">
              <a:extLst>
                <a:ext uri="{FF2B5EF4-FFF2-40B4-BE49-F238E27FC236}">
                  <a16:creationId xmlns:a16="http://schemas.microsoft.com/office/drawing/2014/main" id="{4BAF40CA-A3E3-414F-1941-7E9A5288E075}"/>
                </a:ext>
              </a:extLst>
            </p:cNvPr>
            <p:cNvSpPr txBox="1">
              <a:spLocks/>
            </p:cNvSpPr>
            <p:nvPr/>
          </p:nvSpPr>
          <p:spPr>
            <a:xfrm>
              <a:off x="7321520" y="5036346"/>
              <a:ext cx="1099791" cy="307777"/>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Energy infrastructure</a:t>
              </a:r>
            </a:p>
          </p:txBody>
        </p:sp>
        <p:sp>
          <p:nvSpPr>
            <p:cNvPr id="40" name="TextBox 36">
              <a:extLst>
                <a:ext uri="{FF2B5EF4-FFF2-40B4-BE49-F238E27FC236}">
                  <a16:creationId xmlns:a16="http://schemas.microsoft.com/office/drawing/2014/main" id="{3C0C0CF6-8CB8-4954-4F47-422CA1A39278}"/>
                </a:ext>
              </a:extLst>
            </p:cNvPr>
            <p:cNvSpPr txBox="1">
              <a:spLocks/>
            </p:cNvSpPr>
            <p:nvPr/>
          </p:nvSpPr>
          <p:spPr>
            <a:xfrm>
              <a:off x="5342170" y="5064924"/>
              <a:ext cx="1099791" cy="156133"/>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Energy supply</a:t>
              </a:r>
            </a:p>
          </p:txBody>
        </p:sp>
        <p:sp>
          <p:nvSpPr>
            <p:cNvPr id="41" name="Rechteck 40">
              <a:extLst>
                <a:ext uri="{FF2B5EF4-FFF2-40B4-BE49-F238E27FC236}">
                  <a16:creationId xmlns:a16="http://schemas.microsoft.com/office/drawing/2014/main" id="{8640D2C1-A4BF-E384-3148-3C759C8D59CE}"/>
                </a:ext>
              </a:extLst>
            </p:cNvPr>
            <p:cNvSpPr>
              <a:spLocks/>
            </p:cNvSpPr>
            <p:nvPr/>
          </p:nvSpPr>
          <p:spPr>
            <a:xfrm>
              <a:off x="10911292" y="3852979"/>
              <a:ext cx="477836" cy="1150820"/>
            </a:xfrm>
            <a:prstGeom prst="rect">
              <a:avLst/>
            </a:prstGeom>
            <a:noFill/>
            <a:ln w="28575">
              <a:solidFill>
                <a:srgbClr val="FE8389"/>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48" name="TextBox 36">
              <a:extLst>
                <a:ext uri="{FF2B5EF4-FFF2-40B4-BE49-F238E27FC236}">
                  <a16:creationId xmlns:a16="http://schemas.microsoft.com/office/drawing/2014/main" id="{CB0447A5-94B2-0C53-5E55-51F920C43D3B}"/>
                </a:ext>
              </a:extLst>
            </p:cNvPr>
            <p:cNvSpPr txBox="1">
              <a:spLocks/>
            </p:cNvSpPr>
            <p:nvPr/>
          </p:nvSpPr>
          <p:spPr>
            <a:xfrm>
              <a:off x="5029836" y="4924851"/>
              <a:ext cx="81560"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0</a:t>
              </a:r>
            </a:p>
          </p:txBody>
        </p:sp>
        <p:sp>
          <p:nvSpPr>
            <p:cNvPr id="49" name="TextBox 36">
              <a:extLst>
                <a:ext uri="{FF2B5EF4-FFF2-40B4-BE49-F238E27FC236}">
                  <a16:creationId xmlns:a16="http://schemas.microsoft.com/office/drawing/2014/main" id="{534C4388-0C84-16B0-F4CC-C3646895D29E}"/>
                </a:ext>
              </a:extLst>
            </p:cNvPr>
            <p:cNvSpPr txBox="1">
              <a:spLocks/>
            </p:cNvSpPr>
            <p:nvPr/>
          </p:nvSpPr>
          <p:spPr>
            <a:xfrm>
              <a:off x="4862776" y="4577589"/>
              <a:ext cx="248620"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25</a:t>
              </a:r>
            </a:p>
          </p:txBody>
        </p:sp>
        <p:sp>
          <p:nvSpPr>
            <p:cNvPr id="50" name="TextBox 36">
              <a:extLst>
                <a:ext uri="{FF2B5EF4-FFF2-40B4-BE49-F238E27FC236}">
                  <a16:creationId xmlns:a16="http://schemas.microsoft.com/office/drawing/2014/main" id="{6F8B145E-F5C0-3389-3388-9B96E9F96CB0}"/>
                </a:ext>
              </a:extLst>
            </p:cNvPr>
            <p:cNvSpPr txBox="1">
              <a:spLocks/>
            </p:cNvSpPr>
            <p:nvPr/>
          </p:nvSpPr>
          <p:spPr>
            <a:xfrm>
              <a:off x="4862776" y="4230328"/>
              <a:ext cx="248620"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50</a:t>
              </a:r>
            </a:p>
          </p:txBody>
        </p:sp>
        <p:sp>
          <p:nvSpPr>
            <p:cNvPr id="55" name="TextBox 36">
              <a:extLst>
                <a:ext uri="{FF2B5EF4-FFF2-40B4-BE49-F238E27FC236}">
                  <a16:creationId xmlns:a16="http://schemas.microsoft.com/office/drawing/2014/main" id="{2D953691-9863-6AF4-B4B7-9774E6FAEE3A}"/>
                </a:ext>
              </a:extLst>
            </p:cNvPr>
            <p:cNvSpPr txBox="1">
              <a:spLocks/>
            </p:cNvSpPr>
            <p:nvPr/>
          </p:nvSpPr>
          <p:spPr>
            <a:xfrm>
              <a:off x="4862776" y="3883066"/>
              <a:ext cx="248620"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75</a:t>
              </a:r>
            </a:p>
          </p:txBody>
        </p:sp>
        <p:sp>
          <p:nvSpPr>
            <p:cNvPr id="56" name="TextBox 36">
              <a:extLst>
                <a:ext uri="{FF2B5EF4-FFF2-40B4-BE49-F238E27FC236}">
                  <a16:creationId xmlns:a16="http://schemas.microsoft.com/office/drawing/2014/main" id="{204E7442-E2F3-9B88-1E63-0B4A85CA5C4F}"/>
                </a:ext>
              </a:extLst>
            </p:cNvPr>
            <p:cNvSpPr txBox="1">
              <a:spLocks/>
            </p:cNvSpPr>
            <p:nvPr/>
          </p:nvSpPr>
          <p:spPr>
            <a:xfrm>
              <a:off x="4757903" y="3535805"/>
              <a:ext cx="353493"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100</a:t>
              </a:r>
            </a:p>
          </p:txBody>
        </p:sp>
        <p:sp>
          <p:nvSpPr>
            <p:cNvPr id="57" name="TextBox 36">
              <a:extLst>
                <a:ext uri="{FF2B5EF4-FFF2-40B4-BE49-F238E27FC236}">
                  <a16:creationId xmlns:a16="http://schemas.microsoft.com/office/drawing/2014/main" id="{2925674C-4F41-B1D8-909B-DA0BF2FF3268}"/>
                </a:ext>
              </a:extLst>
            </p:cNvPr>
            <p:cNvSpPr txBox="1">
              <a:spLocks/>
            </p:cNvSpPr>
            <p:nvPr/>
          </p:nvSpPr>
          <p:spPr>
            <a:xfrm>
              <a:off x="4805882" y="3188544"/>
              <a:ext cx="305515"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125</a:t>
              </a:r>
            </a:p>
          </p:txBody>
        </p:sp>
        <p:sp>
          <p:nvSpPr>
            <p:cNvPr id="58" name="TextBox 36">
              <a:extLst>
                <a:ext uri="{FF2B5EF4-FFF2-40B4-BE49-F238E27FC236}">
                  <a16:creationId xmlns:a16="http://schemas.microsoft.com/office/drawing/2014/main" id="{72B31550-8A2A-F488-2294-46C843FFF9BA}"/>
                </a:ext>
              </a:extLst>
            </p:cNvPr>
            <p:cNvSpPr txBox="1">
              <a:spLocks/>
            </p:cNvSpPr>
            <p:nvPr/>
          </p:nvSpPr>
          <p:spPr>
            <a:xfrm>
              <a:off x="4805882" y="2841282"/>
              <a:ext cx="305515"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150</a:t>
              </a:r>
            </a:p>
          </p:txBody>
        </p:sp>
        <p:sp>
          <p:nvSpPr>
            <p:cNvPr id="59" name="TextBox 36">
              <a:extLst>
                <a:ext uri="{FF2B5EF4-FFF2-40B4-BE49-F238E27FC236}">
                  <a16:creationId xmlns:a16="http://schemas.microsoft.com/office/drawing/2014/main" id="{C48EFB6F-C770-B67C-E09F-879DC55F1E18}"/>
                </a:ext>
              </a:extLst>
            </p:cNvPr>
            <p:cNvSpPr txBox="1">
              <a:spLocks/>
            </p:cNvSpPr>
            <p:nvPr/>
          </p:nvSpPr>
          <p:spPr>
            <a:xfrm>
              <a:off x="4805882" y="2494021"/>
              <a:ext cx="305515"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175</a:t>
              </a:r>
            </a:p>
          </p:txBody>
        </p:sp>
        <p:sp>
          <p:nvSpPr>
            <p:cNvPr id="60" name="TextBox 36">
              <a:extLst>
                <a:ext uri="{FF2B5EF4-FFF2-40B4-BE49-F238E27FC236}">
                  <a16:creationId xmlns:a16="http://schemas.microsoft.com/office/drawing/2014/main" id="{F767FD05-B369-5572-F230-594D8E10EEE3}"/>
                </a:ext>
              </a:extLst>
            </p:cNvPr>
            <p:cNvSpPr txBox="1">
              <a:spLocks/>
            </p:cNvSpPr>
            <p:nvPr/>
          </p:nvSpPr>
          <p:spPr>
            <a:xfrm>
              <a:off x="4805882" y="2146759"/>
              <a:ext cx="305515" cy="15613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000">
                  <a:solidFill>
                    <a:schemeClr val="bg1">
                      <a:lumMod val="85000"/>
                    </a:schemeClr>
                  </a:solidFill>
                </a:rPr>
                <a:t>200</a:t>
              </a:r>
            </a:p>
          </p:txBody>
        </p:sp>
      </p:grpSp>
      <p:sp>
        <p:nvSpPr>
          <p:cNvPr id="74" name="Richtungspfeil 17">
            <a:extLst>
              <a:ext uri="{FF2B5EF4-FFF2-40B4-BE49-F238E27FC236}">
                <a16:creationId xmlns:a16="http://schemas.microsoft.com/office/drawing/2014/main" id="{256D6D12-A926-3479-8CA1-BD5DADA9B054}"/>
              </a:ext>
            </a:extLst>
          </p:cNvPr>
          <p:cNvSpPr>
            <a:spLocks/>
          </p:cNvSpPr>
          <p:nvPr>
            <p:custDataLst>
              <p:tags r:id="rId2"/>
            </p:custDataLst>
          </p:nvPr>
        </p:nvSpPr>
        <p:spPr bwMode="gray">
          <a:xfrm>
            <a:off x="411163" y="1807943"/>
            <a:ext cx="3167101" cy="1269578"/>
          </a:xfrm>
          <a:prstGeom prst="rect">
            <a:avLst/>
          </a:prstGeom>
        </p:spPr>
        <p:txBody>
          <a:bodyPr vert="horz" wrap="square" lIns="0" tIns="0" rIns="0" bIns="0" rtlCol="0">
            <a:spAutoFit/>
          </a:bodyPr>
          <a:lstStyle/>
          <a:p>
            <a:pPr defTabSz="913943" fontAlgn="base">
              <a:spcAft>
                <a:spcPts val="300"/>
              </a:spcAft>
            </a:pPr>
            <a:r>
              <a:rPr lang="en-US" sz="4800">
                <a:gradFill>
                  <a:gsLst>
                    <a:gs pos="0">
                      <a:srgbClr val="00FFB9"/>
                    </a:gs>
                    <a:gs pos="100000">
                      <a:srgbClr val="00E6DC"/>
                    </a:gs>
                  </a:gsLst>
                  <a:lin ang="0" scaled="0"/>
                </a:gradFill>
              </a:rPr>
              <a:t>Case study</a:t>
            </a:r>
          </a:p>
          <a:p>
            <a:pPr defTabSz="913943" fontAlgn="base">
              <a:spcAft>
                <a:spcPts val="300"/>
              </a:spcAft>
            </a:pPr>
            <a:r>
              <a:rPr lang="en-US" sz="1600">
                <a:solidFill>
                  <a:schemeClr val="bg1">
                    <a:lumMod val="85000"/>
                  </a:schemeClr>
                </a:solidFill>
              </a:rPr>
              <a:t>Decarbonization of German long-haul freight transport</a:t>
            </a:r>
          </a:p>
        </p:txBody>
      </p:sp>
      <p:sp>
        <p:nvSpPr>
          <p:cNvPr id="79" name="Freihandform: Form 78">
            <a:extLst>
              <a:ext uri="{FF2B5EF4-FFF2-40B4-BE49-F238E27FC236}">
                <a16:creationId xmlns:a16="http://schemas.microsoft.com/office/drawing/2014/main" id="{0A002111-B358-4CC0-8D70-C234CCE57337}"/>
              </a:ext>
            </a:extLst>
          </p:cNvPr>
          <p:cNvSpPr/>
          <p:nvPr/>
        </p:nvSpPr>
        <p:spPr>
          <a:xfrm>
            <a:off x="1288283" y="4165600"/>
            <a:ext cx="2200252" cy="1314142"/>
          </a:xfrm>
          <a:custGeom>
            <a:avLst/>
            <a:gdLst>
              <a:gd name="connsiteX0" fmla="*/ 2426970 w 2531840"/>
              <a:gd name="connsiteY0" fmla="*/ 405003 h 1512188"/>
              <a:gd name="connsiteX1" fmla="*/ 2424399 w 2531840"/>
              <a:gd name="connsiteY1" fmla="*/ 366141 h 1512188"/>
              <a:gd name="connsiteX2" fmla="*/ 2531840 w 2531840"/>
              <a:gd name="connsiteY2" fmla="*/ 331184 h 1512188"/>
              <a:gd name="connsiteX3" fmla="*/ 2498503 w 2531840"/>
              <a:gd name="connsiteY3" fmla="*/ 228505 h 1512188"/>
              <a:gd name="connsiteX4" fmla="*/ 2391156 w 2531840"/>
              <a:gd name="connsiteY4" fmla="*/ 263366 h 1512188"/>
              <a:gd name="connsiteX5" fmla="*/ 2345341 w 2531840"/>
              <a:gd name="connsiteY5" fmla="*/ 200501 h 1512188"/>
              <a:gd name="connsiteX6" fmla="*/ 2411826 w 2531840"/>
              <a:gd name="connsiteY6" fmla="*/ 109061 h 1512188"/>
              <a:gd name="connsiteX7" fmla="*/ 2324481 w 2531840"/>
              <a:gd name="connsiteY7" fmla="*/ 45625 h 1512188"/>
              <a:gd name="connsiteX8" fmla="*/ 2258092 w 2531840"/>
              <a:gd name="connsiteY8" fmla="*/ 136969 h 1512188"/>
              <a:gd name="connsiteX9" fmla="*/ 2184083 w 2531840"/>
              <a:gd name="connsiteY9" fmla="*/ 112967 h 1512188"/>
              <a:gd name="connsiteX10" fmla="*/ 2184083 w 2531840"/>
              <a:gd name="connsiteY10" fmla="*/ 0 h 1512188"/>
              <a:gd name="connsiteX11" fmla="*/ 2075879 w 2531840"/>
              <a:gd name="connsiteY11" fmla="*/ 0 h 1512188"/>
              <a:gd name="connsiteX12" fmla="*/ 2075879 w 2531840"/>
              <a:gd name="connsiteY12" fmla="*/ 112967 h 1512188"/>
              <a:gd name="connsiteX13" fmla="*/ 2001870 w 2531840"/>
              <a:gd name="connsiteY13" fmla="*/ 136969 h 1512188"/>
              <a:gd name="connsiteX14" fmla="*/ 1935480 w 2531840"/>
              <a:gd name="connsiteY14" fmla="*/ 45625 h 1512188"/>
              <a:gd name="connsiteX15" fmla="*/ 1848136 w 2531840"/>
              <a:gd name="connsiteY15" fmla="*/ 109061 h 1512188"/>
              <a:gd name="connsiteX16" fmla="*/ 1914620 w 2531840"/>
              <a:gd name="connsiteY16" fmla="*/ 200501 h 1512188"/>
              <a:gd name="connsiteX17" fmla="*/ 1868805 w 2531840"/>
              <a:gd name="connsiteY17" fmla="*/ 263366 h 1512188"/>
              <a:gd name="connsiteX18" fmla="*/ 1761458 w 2531840"/>
              <a:gd name="connsiteY18" fmla="*/ 228505 h 1512188"/>
              <a:gd name="connsiteX19" fmla="*/ 1728121 w 2531840"/>
              <a:gd name="connsiteY19" fmla="*/ 331184 h 1512188"/>
              <a:gd name="connsiteX20" fmla="*/ 1835563 w 2531840"/>
              <a:gd name="connsiteY20" fmla="*/ 366141 h 1512188"/>
              <a:gd name="connsiteX21" fmla="*/ 1832991 w 2531840"/>
              <a:gd name="connsiteY21" fmla="*/ 405003 h 1512188"/>
              <a:gd name="connsiteX22" fmla="*/ 1835563 w 2531840"/>
              <a:gd name="connsiteY22" fmla="*/ 443865 h 1512188"/>
              <a:gd name="connsiteX23" fmla="*/ 1728121 w 2531840"/>
              <a:gd name="connsiteY23" fmla="*/ 478822 h 1512188"/>
              <a:gd name="connsiteX24" fmla="*/ 1761458 w 2531840"/>
              <a:gd name="connsiteY24" fmla="*/ 581597 h 1512188"/>
              <a:gd name="connsiteX25" fmla="*/ 1868805 w 2531840"/>
              <a:gd name="connsiteY25" fmla="*/ 546735 h 1512188"/>
              <a:gd name="connsiteX26" fmla="*/ 1914620 w 2531840"/>
              <a:gd name="connsiteY26" fmla="*/ 609600 h 1512188"/>
              <a:gd name="connsiteX27" fmla="*/ 1848136 w 2531840"/>
              <a:gd name="connsiteY27" fmla="*/ 701040 h 1512188"/>
              <a:gd name="connsiteX28" fmla="*/ 1935480 w 2531840"/>
              <a:gd name="connsiteY28" fmla="*/ 764476 h 1512188"/>
              <a:gd name="connsiteX29" fmla="*/ 2001870 w 2531840"/>
              <a:gd name="connsiteY29" fmla="*/ 673132 h 1512188"/>
              <a:gd name="connsiteX30" fmla="*/ 2075879 w 2531840"/>
              <a:gd name="connsiteY30" fmla="*/ 697039 h 1512188"/>
              <a:gd name="connsiteX31" fmla="*/ 2075879 w 2531840"/>
              <a:gd name="connsiteY31" fmla="*/ 810006 h 1512188"/>
              <a:gd name="connsiteX32" fmla="*/ 2183892 w 2531840"/>
              <a:gd name="connsiteY32" fmla="*/ 810006 h 1512188"/>
              <a:gd name="connsiteX33" fmla="*/ 2183892 w 2531840"/>
              <a:gd name="connsiteY33" fmla="*/ 697039 h 1512188"/>
              <a:gd name="connsiteX34" fmla="*/ 2257901 w 2531840"/>
              <a:gd name="connsiteY34" fmla="*/ 673132 h 1512188"/>
              <a:gd name="connsiteX35" fmla="*/ 2324291 w 2531840"/>
              <a:gd name="connsiteY35" fmla="*/ 764476 h 1512188"/>
              <a:gd name="connsiteX36" fmla="*/ 2411635 w 2531840"/>
              <a:gd name="connsiteY36" fmla="*/ 701040 h 1512188"/>
              <a:gd name="connsiteX37" fmla="*/ 2345151 w 2531840"/>
              <a:gd name="connsiteY37" fmla="*/ 609600 h 1512188"/>
              <a:gd name="connsiteX38" fmla="*/ 2390966 w 2531840"/>
              <a:gd name="connsiteY38" fmla="*/ 546735 h 1512188"/>
              <a:gd name="connsiteX39" fmla="*/ 2498313 w 2531840"/>
              <a:gd name="connsiteY39" fmla="*/ 581597 h 1512188"/>
              <a:gd name="connsiteX40" fmla="*/ 2531650 w 2531840"/>
              <a:gd name="connsiteY40" fmla="*/ 478822 h 1512188"/>
              <a:gd name="connsiteX41" fmla="*/ 2424208 w 2531840"/>
              <a:gd name="connsiteY41" fmla="*/ 443865 h 1512188"/>
              <a:gd name="connsiteX42" fmla="*/ 2426970 w 2531840"/>
              <a:gd name="connsiteY42" fmla="*/ 405003 h 1512188"/>
              <a:gd name="connsiteX43" fmla="*/ 2129885 w 2531840"/>
              <a:gd name="connsiteY43" fmla="*/ 539972 h 1512188"/>
              <a:gd name="connsiteX44" fmla="*/ 1994916 w 2531840"/>
              <a:gd name="connsiteY44" fmla="*/ 405003 h 1512188"/>
              <a:gd name="connsiteX45" fmla="*/ 2129885 w 2531840"/>
              <a:gd name="connsiteY45" fmla="*/ 270034 h 1512188"/>
              <a:gd name="connsiteX46" fmla="*/ 2264855 w 2531840"/>
              <a:gd name="connsiteY46" fmla="*/ 405003 h 1512188"/>
              <a:gd name="connsiteX47" fmla="*/ 2129885 w 2531840"/>
              <a:gd name="connsiteY47" fmla="*/ 539972 h 1512188"/>
              <a:gd name="connsiteX48" fmla="*/ 436341 w 2531840"/>
              <a:gd name="connsiteY48" fmla="*/ 444817 h 1512188"/>
              <a:gd name="connsiteX49" fmla="*/ 499205 w 2531840"/>
              <a:gd name="connsiteY49" fmla="*/ 381952 h 1512188"/>
              <a:gd name="connsiteX50" fmla="*/ 422815 w 2531840"/>
              <a:gd name="connsiteY50" fmla="*/ 305562 h 1512188"/>
              <a:gd name="connsiteX51" fmla="*/ 359950 w 2531840"/>
              <a:gd name="connsiteY51" fmla="*/ 368427 h 1512188"/>
              <a:gd name="connsiteX52" fmla="*/ 324041 w 2531840"/>
              <a:gd name="connsiteY52" fmla="*/ 353663 h 1512188"/>
              <a:gd name="connsiteX53" fmla="*/ 324041 w 2531840"/>
              <a:gd name="connsiteY53" fmla="*/ 264700 h 1512188"/>
              <a:gd name="connsiteX54" fmla="*/ 216027 w 2531840"/>
              <a:gd name="connsiteY54" fmla="*/ 264700 h 1512188"/>
              <a:gd name="connsiteX55" fmla="*/ 216027 w 2531840"/>
              <a:gd name="connsiteY55" fmla="*/ 353663 h 1512188"/>
              <a:gd name="connsiteX56" fmla="*/ 180118 w 2531840"/>
              <a:gd name="connsiteY56" fmla="*/ 368427 h 1512188"/>
              <a:gd name="connsiteX57" fmla="*/ 117253 w 2531840"/>
              <a:gd name="connsiteY57" fmla="*/ 305562 h 1512188"/>
              <a:gd name="connsiteX58" fmla="*/ 40862 w 2531840"/>
              <a:gd name="connsiteY58" fmla="*/ 381952 h 1512188"/>
              <a:gd name="connsiteX59" fmla="*/ 103727 w 2531840"/>
              <a:gd name="connsiteY59" fmla="*/ 444817 h 1512188"/>
              <a:gd name="connsiteX60" fmla="*/ 88964 w 2531840"/>
              <a:gd name="connsiteY60" fmla="*/ 480727 h 1512188"/>
              <a:gd name="connsiteX61" fmla="*/ 0 w 2531840"/>
              <a:gd name="connsiteY61" fmla="*/ 480727 h 1512188"/>
              <a:gd name="connsiteX62" fmla="*/ 0 w 2531840"/>
              <a:gd name="connsiteY62" fmla="*/ 588740 h 1512188"/>
              <a:gd name="connsiteX63" fmla="*/ 88964 w 2531840"/>
              <a:gd name="connsiteY63" fmla="*/ 588740 h 1512188"/>
              <a:gd name="connsiteX64" fmla="*/ 103727 w 2531840"/>
              <a:gd name="connsiteY64" fmla="*/ 624650 h 1512188"/>
              <a:gd name="connsiteX65" fmla="*/ 40862 w 2531840"/>
              <a:gd name="connsiteY65" fmla="*/ 687514 h 1512188"/>
              <a:gd name="connsiteX66" fmla="*/ 117253 w 2531840"/>
              <a:gd name="connsiteY66" fmla="*/ 763905 h 1512188"/>
              <a:gd name="connsiteX67" fmla="*/ 180118 w 2531840"/>
              <a:gd name="connsiteY67" fmla="*/ 701040 h 1512188"/>
              <a:gd name="connsiteX68" fmla="*/ 216027 w 2531840"/>
              <a:gd name="connsiteY68" fmla="*/ 715804 h 1512188"/>
              <a:gd name="connsiteX69" fmla="*/ 216027 w 2531840"/>
              <a:gd name="connsiteY69" fmla="*/ 804767 h 1512188"/>
              <a:gd name="connsiteX70" fmla="*/ 324041 w 2531840"/>
              <a:gd name="connsiteY70" fmla="*/ 804767 h 1512188"/>
              <a:gd name="connsiteX71" fmla="*/ 324041 w 2531840"/>
              <a:gd name="connsiteY71" fmla="*/ 715804 h 1512188"/>
              <a:gd name="connsiteX72" fmla="*/ 359950 w 2531840"/>
              <a:gd name="connsiteY72" fmla="*/ 701040 h 1512188"/>
              <a:gd name="connsiteX73" fmla="*/ 422815 w 2531840"/>
              <a:gd name="connsiteY73" fmla="*/ 763905 h 1512188"/>
              <a:gd name="connsiteX74" fmla="*/ 499205 w 2531840"/>
              <a:gd name="connsiteY74" fmla="*/ 687514 h 1512188"/>
              <a:gd name="connsiteX75" fmla="*/ 436341 w 2531840"/>
              <a:gd name="connsiteY75" fmla="*/ 624650 h 1512188"/>
              <a:gd name="connsiteX76" fmla="*/ 451104 w 2531840"/>
              <a:gd name="connsiteY76" fmla="*/ 588740 h 1512188"/>
              <a:gd name="connsiteX77" fmla="*/ 540068 w 2531840"/>
              <a:gd name="connsiteY77" fmla="*/ 588740 h 1512188"/>
              <a:gd name="connsiteX78" fmla="*/ 540068 w 2531840"/>
              <a:gd name="connsiteY78" fmla="*/ 480727 h 1512188"/>
              <a:gd name="connsiteX79" fmla="*/ 451104 w 2531840"/>
              <a:gd name="connsiteY79" fmla="*/ 480727 h 1512188"/>
              <a:gd name="connsiteX80" fmla="*/ 436341 w 2531840"/>
              <a:gd name="connsiteY80" fmla="*/ 444817 h 1512188"/>
              <a:gd name="connsiteX81" fmla="*/ 271082 w 2531840"/>
              <a:gd name="connsiteY81" fmla="*/ 617030 h 1512188"/>
              <a:gd name="connsiteX82" fmla="*/ 187738 w 2531840"/>
              <a:gd name="connsiteY82" fmla="*/ 535686 h 1512188"/>
              <a:gd name="connsiteX83" fmla="*/ 269081 w 2531840"/>
              <a:gd name="connsiteY83" fmla="*/ 452342 h 1512188"/>
              <a:gd name="connsiteX84" fmla="*/ 352425 w 2531840"/>
              <a:gd name="connsiteY84" fmla="*/ 533686 h 1512188"/>
              <a:gd name="connsiteX85" fmla="*/ 271082 w 2531840"/>
              <a:gd name="connsiteY85" fmla="*/ 617030 h 1512188"/>
              <a:gd name="connsiteX86" fmla="*/ 1569054 w 2531840"/>
              <a:gd name="connsiteY86" fmla="*/ 776002 h 1512188"/>
              <a:gd name="connsiteX87" fmla="*/ 1716024 w 2531840"/>
              <a:gd name="connsiteY87" fmla="*/ 691134 h 1512188"/>
              <a:gd name="connsiteX88" fmla="*/ 1635062 w 2531840"/>
              <a:gd name="connsiteY88" fmla="*/ 550831 h 1512188"/>
              <a:gd name="connsiteX89" fmla="*/ 1487996 w 2531840"/>
              <a:gd name="connsiteY89" fmla="*/ 635698 h 1512188"/>
              <a:gd name="connsiteX90" fmla="*/ 1443419 w 2531840"/>
              <a:gd name="connsiteY90" fmla="*/ 591026 h 1512188"/>
              <a:gd name="connsiteX91" fmla="*/ 1528286 w 2531840"/>
              <a:gd name="connsiteY91" fmla="*/ 443960 h 1512188"/>
              <a:gd name="connsiteX92" fmla="*/ 1387983 w 2531840"/>
              <a:gd name="connsiteY92" fmla="*/ 362998 h 1512188"/>
              <a:gd name="connsiteX93" fmla="*/ 1303115 w 2531840"/>
              <a:gd name="connsiteY93" fmla="*/ 509968 h 1512188"/>
              <a:gd name="connsiteX94" fmla="*/ 1242060 w 2531840"/>
              <a:gd name="connsiteY94" fmla="*/ 493681 h 1512188"/>
              <a:gd name="connsiteX95" fmla="*/ 1242060 w 2531840"/>
              <a:gd name="connsiteY95" fmla="*/ 324041 h 1512188"/>
              <a:gd name="connsiteX96" fmla="*/ 1080040 w 2531840"/>
              <a:gd name="connsiteY96" fmla="*/ 324041 h 1512188"/>
              <a:gd name="connsiteX97" fmla="*/ 1080040 w 2531840"/>
              <a:gd name="connsiteY97" fmla="*/ 493681 h 1512188"/>
              <a:gd name="connsiteX98" fmla="*/ 1018985 w 2531840"/>
              <a:gd name="connsiteY98" fmla="*/ 509968 h 1512188"/>
              <a:gd name="connsiteX99" fmla="*/ 934117 w 2531840"/>
              <a:gd name="connsiteY99" fmla="*/ 362998 h 1512188"/>
              <a:gd name="connsiteX100" fmla="*/ 793814 w 2531840"/>
              <a:gd name="connsiteY100" fmla="*/ 443960 h 1512188"/>
              <a:gd name="connsiteX101" fmla="*/ 878681 w 2531840"/>
              <a:gd name="connsiteY101" fmla="*/ 591026 h 1512188"/>
              <a:gd name="connsiteX102" fmla="*/ 834009 w 2531840"/>
              <a:gd name="connsiteY102" fmla="*/ 635698 h 1512188"/>
              <a:gd name="connsiteX103" fmla="*/ 687134 w 2531840"/>
              <a:gd name="connsiteY103" fmla="*/ 550831 h 1512188"/>
              <a:gd name="connsiteX104" fmla="*/ 606171 w 2531840"/>
              <a:gd name="connsiteY104" fmla="*/ 691134 h 1512188"/>
              <a:gd name="connsiteX105" fmla="*/ 753142 w 2531840"/>
              <a:gd name="connsiteY105" fmla="*/ 776002 h 1512188"/>
              <a:gd name="connsiteX106" fmla="*/ 736854 w 2531840"/>
              <a:gd name="connsiteY106" fmla="*/ 837057 h 1512188"/>
              <a:gd name="connsiteX107" fmla="*/ 567119 w 2531840"/>
              <a:gd name="connsiteY107" fmla="*/ 837057 h 1512188"/>
              <a:gd name="connsiteX108" fmla="*/ 567119 w 2531840"/>
              <a:gd name="connsiteY108" fmla="*/ 999077 h 1512188"/>
              <a:gd name="connsiteX109" fmla="*/ 736854 w 2531840"/>
              <a:gd name="connsiteY109" fmla="*/ 999077 h 1512188"/>
              <a:gd name="connsiteX110" fmla="*/ 753142 w 2531840"/>
              <a:gd name="connsiteY110" fmla="*/ 1060133 h 1512188"/>
              <a:gd name="connsiteX111" fmla="*/ 606171 w 2531840"/>
              <a:gd name="connsiteY111" fmla="*/ 1145000 h 1512188"/>
              <a:gd name="connsiteX112" fmla="*/ 687134 w 2531840"/>
              <a:gd name="connsiteY112" fmla="*/ 1285304 h 1512188"/>
              <a:gd name="connsiteX113" fmla="*/ 834200 w 2531840"/>
              <a:gd name="connsiteY113" fmla="*/ 1200436 h 1512188"/>
              <a:gd name="connsiteX114" fmla="*/ 878872 w 2531840"/>
              <a:gd name="connsiteY114" fmla="*/ 1245108 h 1512188"/>
              <a:gd name="connsiteX115" fmla="*/ 794004 w 2531840"/>
              <a:gd name="connsiteY115" fmla="*/ 1392174 h 1512188"/>
              <a:gd name="connsiteX116" fmla="*/ 934308 w 2531840"/>
              <a:gd name="connsiteY116" fmla="*/ 1473136 h 1512188"/>
              <a:gd name="connsiteX117" fmla="*/ 1019175 w 2531840"/>
              <a:gd name="connsiteY117" fmla="*/ 1326166 h 1512188"/>
              <a:gd name="connsiteX118" fmla="*/ 1080231 w 2531840"/>
              <a:gd name="connsiteY118" fmla="*/ 1342454 h 1512188"/>
              <a:gd name="connsiteX119" fmla="*/ 1080231 w 2531840"/>
              <a:gd name="connsiteY119" fmla="*/ 1512189 h 1512188"/>
              <a:gd name="connsiteX120" fmla="*/ 1242251 w 2531840"/>
              <a:gd name="connsiteY120" fmla="*/ 1512189 h 1512188"/>
              <a:gd name="connsiteX121" fmla="*/ 1242251 w 2531840"/>
              <a:gd name="connsiteY121" fmla="*/ 1342454 h 1512188"/>
              <a:gd name="connsiteX122" fmla="*/ 1303306 w 2531840"/>
              <a:gd name="connsiteY122" fmla="*/ 1326166 h 1512188"/>
              <a:gd name="connsiteX123" fmla="*/ 1388173 w 2531840"/>
              <a:gd name="connsiteY123" fmla="*/ 1473136 h 1512188"/>
              <a:gd name="connsiteX124" fmla="*/ 1528477 w 2531840"/>
              <a:gd name="connsiteY124" fmla="*/ 1392174 h 1512188"/>
              <a:gd name="connsiteX125" fmla="*/ 1443609 w 2531840"/>
              <a:gd name="connsiteY125" fmla="*/ 1245108 h 1512188"/>
              <a:gd name="connsiteX126" fmla="*/ 1488186 w 2531840"/>
              <a:gd name="connsiteY126" fmla="*/ 1200436 h 1512188"/>
              <a:gd name="connsiteX127" fmla="*/ 1635252 w 2531840"/>
              <a:gd name="connsiteY127" fmla="*/ 1285304 h 1512188"/>
              <a:gd name="connsiteX128" fmla="*/ 1716214 w 2531840"/>
              <a:gd name="connsiteY128" fmla="*/ 1145000 h 1512188"/>
              <a:gd name="connsiteX129" fmla="*/ 1569244 w 2531840"/>
              <a:gd name="connsiteY129" fmla="*/ 1060133 h 1512188"/>
              <a:gd name="connsiteX130" fmla="*/ 1585532 w 2531840"/>
              <a:gd name="connsiteY130" fmla="*/ 999077 h 1512188"/>
              <a:gd name="connsiteX131" fmla="*/ 1755267 w 2531840"/>
              <a:gd name="connsiteY131" fmla="*/ 999077 h 1512188"/>
              <a:gd name="connsiteX132" fmla="*/ 1755267 w 2531840"/>
              <a:gd name="connsiteY132" fmla="*/ 837057 h 1512188"/>
              <a:gd name="connsiteX133" fmla="*/ 1585341 w 2531840"/>
              <a:gd name="connsiteY133" fmla="*/ 837057 h 1512188"/>
              <a:gd name="connsiteX134" fmla="*/ 1569054 w 2531840"/>
              <a:gd name="connsiteY134" fmla="*/ 776002 h 1512188"/>
              <a:gd name="connsiteX135" fmla="*/ 1431036 w 2531840"/>
              <a:gd name="connsiteY135" fmla="*/ 972026 h 1512188"/>
              <a:gd name="connsiteX136" fmla="*/ 1342073 w 2531840"/>
              <a:gd name="connsiteY136" fmla="*/ 972026 h 1512188"/>
              <a:gd name="connsiteX137" fmla="*/ 1327309 w 2531840"/>
              <a:gd name="connsiteY137" fmla="*/ 1007935 h 1512188"/>
              <a:gd name="connsiteX138" fmla="*/ 1390174 w 2531840"/>
              <a:gd name="connsiteY138" fmla="*/ 1070801 h 1512188"/>
              <a:gd name="connsiteX139" fmla="*/ 1313783 w 2531840"/>
              <a:gd name="connsiteY139" fmla="*/ 1147191 h 1512188"/>
              <a:gd name="connsiteX140" fmla="*/ 1250918 w 2531840"/>
              <a:gd name="connsiteY140" fmla="*/ 1084326 h 1512188"/>
              <a:gd name="connsiteX141" fmla="*/ 1215009 w 2531840"/>
              <a:gd name="connsiteY141" fmla="*/ 1099090 h 1512188"/>
              <a:gd name="connsiteX142" fmla="*/ 1215009 w 2531840"/>
              <a:gd name="connsiteY142" fmla="*/ 1188053 h 1512188"/>
              <a:gd name="connsiteX143" fmla="*/ 1106996 w 2531840"/>
              <a:gd name="connsiteY143" fmla="*/ 1188053 h 1512188"/>
              <a:gd name="connsiteX144" fmla="*/ 1106996 w 2531840"/>
              <a:gd name="connsiteY144" fmla="*/ 1099090 h 1512188"/>
              <a:gd name="connsiteX145" fmla="*/ 1071086 w 2531840"/>
              <a:gd name="connsiteY145" fmla="*/ 1084326 h 1512188"/>
              <a:gd name="connsiteX146" fmla="*/ 1008222 w 2531840"/>
              <a:gd name="connsiteY146" fmla="*/ 1147191 h 1512188"/>
              <a:gd name="connsiteX147" fmla="*/ 931831 w 2531840"/>
              <a:gd name="connsiteY147" fmla="*/ 1070801 h 1512188"/>
              <a:gd name="connsiteX148" fmla="*/ 994696 w 2531840"/>
              <a:gd name="connsiteY148" fmla="*/ 1007935 h 1512188"/>
              <a:gd name="connsiteX149" fmla="*/ 979932 w 2531840"/>
              <a:gd name="connsiteY149" fmla="*/ 972026 h 1512188"/>
              <a:gd name="connsiteX150" fmla="*/ 890969 w 2531840"/>
              <a:gd name="connsiteY150" fmla="*/ 972026 h 1512188"/>
              <a:gd name="connsiteX151" fmla="*/ 890969 w 2531840"/>
              <a:gd name="connsiteY151" fmla="*/ 864013 h 1512188"/>
              <a:gd name="connsiteX152" fmla="*/ 979932 w 2531840"/>
              <a:gd name="connsiteY152" fmla="*/ 864013 h 1512188"/>
              <a:gd name="connsiteX153" fmla="*/ 994696 w 2531840"/>
              <a:gd name="connsiteY153" fmla="*/ 828104 h 1512188"/>
              <a:gd name="connsiteX154" fmla="*/ 931831 w 2531840"/>
              <a:gd name="connsiteY154" fmla="*/ 765238 h 1512188"/>
              <a:gd name="connsiteX155" fmla="*/ 1008222 w 2531840"/>
              <a:gd name="connsiteY155" fmla="*/ 688848 h 1512188"/>
              <a:gd name="connsiteX156" fmla="*/ 1071086 w 2531840"/>
              <a:gd name="connsiteY156" fmla="*/ 751713 h 1512188"/>
              <a:gd name="connsiteX157" fmla="*/ 1106996 w 2531840"/>
              <a:gd name="connsiteY157" fmla="*/ 736949 h 1512188"/>
              <a:gd name="connsiteX158" fmla="*/ 1106996 w 2531840"/>
              <a:gd name="connsiteY158" fmla="*/ 647986 h 1512188"/>
              <a:gd name="connsiteX159" fmla="*/ 1215009 w 2531840"/>
              <a:gd name="connsiteY159" fmla="*/ 647986 h 1512188"/>
              <a:gd name="connsiteX160" fmla="*/ 1215009 w 2531840"/>
              <a:gd name="connsiteY160" fmla="*/ 736949 h 1512188"/>
              <a:gd name="connsiteX161" fmla="*/ 1250918 w 2531840"/>
              <a:gd name="connsiteY161" fmla="*/ 751713 h 1512188"/>
              <a:gd name="connsiteX162" fmla="*/ 1313783 w 2531840"/>
              <a:gd name="connsiteY162" fmla="*/ 688848 h 1512188"/>
              <a:gd name="connsiteX163" fmla="*/ 1390174 w 2531840"/>
              <a:gd name="connsiteY163" fmla="*/ 765238 h 1512188"/>
              <a:gd name="connsiteX164" fmla="*/ 1327309 w 2531840"/>
              <a:gd name="connsiteY164" fmla="*/ 828104 h 1512188"/>
              <a:gd name="connsiteX165" fmla="*/ 1342073 w 2531840"/>
              <a:gd name="connsiteY165" fmla="*/ 864013 h 1512188"/>
              <a:gd name="connsiteX166" fmla="*/ 1431036 w 2531840"/>
              <a:gd name="connsiteY166" fmla="*/ 864013 h 1512188"/>
              <a:gd name="connsiteX167" fmla="*/ 1431036 w 2531840"/>
              <a:gd name="connsiteY167" fmla="*/ 972026 h 1512188"/>
              <a:gd name="connsiteX168" fmla="*/ 1248823 w 2531840"/>
              <a:gd name="connsiteY168" fmla="*/ 916876 h 1512188"/>
              <a:gd name="connsiteX169" fmla="*/ 1162145 w 2531840"/>
              <a:gd name="connsiteY169" fmla="*/ 1005745 h 1512188"/>
              <a:gd name="connsiteX170" fmla="*/ 1073277 w 2531840"/>
              <a:gd name="connsiteY170" fmla="*/ 919067 h 1512188"/>
              <a:gd name="connsiteX171" fmla="*/ 1159955 w 2531840"/>
              <a:gd name="connsiteY171" fmla="*/ 830199 h 1512188"/>
              <a:gd name="connsiteX172" fmla="*/ 1248823 w 2531840"/>
              <a:gd name="connsiteY172" fmla="*/ 916876 h 1512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2531840" h="1512188">
                <a:moveTo>
                  <a:pt x="2426970" y="405003"/>
                </a:moveTo>
                <a:cubicBezTo>
                  <a:pt x="2426970" y="391859"/>
                  <a:pt x="2426018" y="378809"/>
                  <a:pt x="2424399" y="366141"/>
                </a:cubicBezTo>
                <a:lnTo>
                  <a:pt x="2531840" y="331184"/>
                </a:lnTo>
                <a:lnTo>
                  <a:pt x="2498503" y="228505"/>
                </a:lnTo>
                <a:lnTo>
                  <a:pt x="2391156" y="263366"/>
                </a:lnTo>
                <a:cubicBezTo>
                  <a:pt x="2378679" y="240411"/>
                  <a:pt x="2363153" y="219361"/>
                  <a:pt x="2345341" y="200501"/>
                </a:cubicBezTo>
                <a:lnTo>
                  <a:pt x="2411826" y="109061"/>
                </a:lnTo>
                <a:lnTo>
                  <a:pt x="2324481" y="45625"/>
                </a:lnTo>
                <a:lnTo>
                  <a:pt x="2258092" y="136969"/>
                </a:lnTo>
                <a:cubicBezTo>
                  <a:pt x="2234946" y="125920"/>
                  <a:pt x="2210086" y="117824"/>
                  <a:pt x="2184083" y="112967"/>
                </a:cubicBezTo>
                <a:lnTo>
                  <a:pt x="2184083" y="0"/>
                </a:lnTo>
                <a:lnTo>
                  <a:pt x="2075879" y="0"/>
                </a:lnTo>
                <a:lnTo>
                  <a:pt x="2075879" y="112967"/>
                </a:lnTo>
                <a:cubicBezTo>
                  <a:pt x="2049876" y="117729"/>
                  <a:pt x="2025015" y="125825"/>
                  <a:pt x="2001870" y="136969"/>
                </a:cubicBezTo>
                <a:lnTo>
                  <a:pt x="1935480" y="45625"/>
                </a:lnTo>
                <a:lnTo>
                  <a:pt x="1848136" y="109061"/>
                </a:lnTo>
                <a:lnTo>
                  <a:pt x="1914620" y="200501"/>
                </a:lnTo>
                <a:cubicBezTo>
                  <a:pt x="1896809" y="219265"/>
                  <a:pt x="1881283" y="240411"/>
                  <a:pt x="1868805" y="263366"/>
                </a:cubicBezTo>
                <a:lnTo>
                  <a:pt x="1761458" y="228505"/>
                </a:lnTo>
                <a:lnTo>
                  <a:pt x="1728121" y="331184"/>
                </a:lnTo>
                <a:lnTo>
                  <a:pt x="1835563" y="366141"/>
                </a:lnTo>
                <a:cubicBezTo>
                  <a:pt x="1833849" y="378905"/>
                  <a:pt x="1832991" y="391859"/>
                  <a:pt x="1832991" y="405003"/>
                </a:cubicBezTo>
                <a:cubicBezTo>
                  <a:pt x="1832991" y="418147"/>
                  <a:pt x="1833944" y="431101"/>
                  <a:pt x="1835563" y="443865"/>
                </a:cubicBezTo>
                <a:lnTo>
                  <a:pt x="1728121" y="478822"/>
                </a:lnTo>
                <a:lnTo>
                  <a:pt x="1761458" y="581597"/>
                </a:lnTo>
                <a:lnTo>
                  <a:pt x="1868805" y="546735"/>
                </a:lnTo>
                <a:cubicBezTo>
                  <a:pt x="1881283" y="569690"/>
                  <a:pt x="1896809" y="590836"/>
                  <a:pt x="1914620" y="609600"/>
                </a:cubicBezTo>
                <a:lnTo>
                  <a:pt x="1848136" y="701040"/>
                </a:lnTo>
                <a:lnTo>
                  <a:pt x="1935480" y="764476"/>
                </a:lnTo>
                <a:lnTo>
                  <a:pt x="2001870" y="673132"/>
                </a:lnTo>
                <a:cubicBezTo>
                  <a:pt x="2025015" y="684181"/>
                  <a:pt x="2049876" y="692277"/>
                  <a:pt x="2075879" y="697039"/>
                </a:cubicBezTo>
                <a:lnTo>
                  <a:pt x="2075879" y="810006"/>
                </a:lnTo>
                <a:lnTo>
                  <a:pt x="2183892" y="810006"/>
                </a:lnTo>
                <a:lnTo>
                  <a:pt x="2183892" y="697039"/>
                </a:lnTo>
                <a:cubicBezTo>
                  <a:pt x="2209895" y="692277"/>
                  <a:pt x="2234756" y="684181"/>
                  <a:pt x="2257901" y="673132"/>
                </a:cubicBezTo>
                <a:lnTo>
                  <a:pt x="2324291" y="764476"/>
                </a:lnTo>
                <a:lnTo>
                  <a:pt x="2411635" y="701040"/>
                </a:lnTo>
                <a:lnTo>
                  <a:pt x="2345151" y="609600"/>
                </a:lnTo>
                <a:cubicBezTo>
                  <a:pt x="2363058" y="590836"/>
                  <a:pt x="2378488" y="569690"/>
                  <a:pt x="2390966" y="546735"/>
                </a:cubicBezTo>
                <a:lnTo>
                  <a:pt x="2498313" y="581597"/>
                </a:lnTo>
                <a:lnTo>
                  <a:pt x="2531650" y="478822"/>
                </a:lnTo>
                <a:lnTo>
                  <a:pt x="2424208" y="443865"/>
                </a:lnTo>
                <a:cubicBezTo>
                  <a:pt x="2426018" y="431101"/>
                  <a:pt x="2426970" y="418147"/>
                  <a:pt x="2426970" y="405003"/>
                </a:cubicBezTo>
                <a:close/>
                <a:moveTo>
                  <a:pt x="2129885" y="539972"/>
                </a:moveTo>
                <a:cubicBezTo>
                  <a:pt x="2055305" y="539972"/>
                  <a:pt x="1994916" y="479488"/>
                  <a:pt x="1994916" y="405003"/>
                </a:cubicBezTo>
                <a:cubicBezTo>
                  <a:pt x="1994916" y="330422"/>
                  <a:pt x="2055400" y="270034"/>
                  <a:pt x="2129885" y="270034"/>
                </a:cubicBezTo>
                <a:cubicBezTo>
                  <a:pt x="2204466" y="270034"/>
                  <a:pt x="2264855" y="330517"/>
                  <a:pt x="2264855" y="405003"/>
                </a:cubicBezTo>
                <a:cubicBezTo>
                  <a:pt x="2264950" y="479584"/>
                  <a:pt x="2204466" y="539972"/>
                  <a:pt x="2129885" y="539972"/>
                </a:cubicBezTo>
                <a:close/>
                <a:moveTo>
                  <a:pt x="436341" y="444817"/>
                </a:moveTo>
                <a:lnTo>
                  <a:pt x="499205" y="381952"/>
                </a:lnTo>
                <a:lnTo>
                  <a:pt x="422815" y="305562"/>
                </a:lnTo>
                <a:lnTo>
                  <a:pt x="359950" y="368427"/>
                </a:lnTo>
                <a:cubicBezTo>
                  <a:pt x="348615" y="362331"/>
                  <a:pt x="336614" y="357378"/>
                  <a:pt x="324041" y="353663"/>
                </a:cubicBezTo>
                <a:lnTo>
                  <a:pt x="324041" y="264700"/>
                </a:lnTo>
                <a:lnTo>
                  <a:pt x="216027" y="264700"/>
                </a:lnTo>
                <a:lnTo>
                  <a:pt x="216027" y="353663"/>
                </a:lnTo>
                <a:cubicBezTo>
                  <a:pt x="203454" y="357378"/>
                  <a:pt x="191453" y="362331"/>
                  <a:pt x="180118" y="368427"/>
                </a:cubicBezTo>
                <a:lnTo>
                  <a:pt x="117253" y="305562"/>
                </a:lnTo>
                <a:lnTo>
                  <a:pt x="40862" y="381952"/>
                </a:lnTo>
                <a:lnTo>
                  <a:pt x="103727" y="444817"/>
                </a:lnTo>
                <a:cubicBezTo>
                  <a:pt x="97631" y="456152"/>
                  <a:pt x="92678" y="468154"/>
                  <a:pt x="88964" y="480727"/>
                </a:cubicBezTo>
                <a:lnTo>
                  <a:pt x="0" y="480727"/>
                </a:lnTo>
                <a:lnTo>
                  <a:pt x="0" y="588740"/>
                </a:lnTo>
                <a:lnTo>
                  <a:pt x="88964" y="588740"/>
                </a:lnTo>
                <a:cubicBezTo>
                  <a:pt x="92678" y="601313"/>
                  <a:pt x="97631" y="613315"/>
                  <a:pt x="103727" y="624650"/>
                </a:cubicBezTo>
                <a:lnTo>
                  <a:pt x="40862" y="687514"/>
                </a:lnTo>
                <a:lnTo>
                  <a:pt x="117253" y="763905"/>
                </a:lnTo>
                <a:lnTo>
                  <a:pt x="180118" y="701040"/>
                </a:lnTo>
                <a:cubicBezTo>
                  <a:pt x="191453" y="707136"/>
                  <a:pt x="203454" y="712089"/>
                  <a:pt x="216027" y="715804"/>
                </a:cubicBezTo>
                <a:lnTo>
                  <a:pt x="216027" y="804767"/>
                </a:lnTo>
                <a:lnTo>
                  <a:pt x="324041" y="804767"/>
                </a:lnTo>
                <a:lnTo>
                  <a:pt x="324041" y="715804"/>
                </a:lnTo>
                <a:cubicBezTo>
                  <a:pt x="336614" y="712089"/>
                  <a:pt x="348615" y="707136"/>
                  <a:pt x="359950" y="701040"/>
                </a:cubicBezTo>
                <a:lnTo>
                  <a:pt x="422815" y="763905"/>
                </a:lnTo>
                <a:lnTo>
                  <a:pt x="499205" y="687514"/>
                </a:lnTo>
                <a:lnTo>
                  <a:pt x="436341" y="624650"/>
                </a:lnTo>
                <a:cubicBezTo>
                  <a:pt x="442436" y="613315"/>
                  <a:pt x="447389" y="601313"/>
                  <a:pt x="451104" y="588740"/>
                </a:cubicBezTo>
                <a:lnTo>
                  <a:pt x="540068" y="588740"/>
                </a:lnTo>
                <a:lnTo>
                  <a:pt x="540068" y="480727"/>
                </a:lnTo>
                <a:lnTo>
                  <a:pt x="451104" y="480727"/>
                </a:lnTo>
                <a:cubicBezTo>
                  <a:pt x="447389" y="468154"/>
                  <a:pt x="442436" y="456152"/>
                  <a:pt x="436341" y="444817"/>
                </a:cubicBezTo>
                <a:close/>
                <a:moveTo>
                  <a:pt x="271082" y="617030"/>
                </a:moveTo>
                <a:cubicBezTo>
                  <a:pt x="225647" y="617601"/>
                  <a:pt x="188309" y="581216"/>
                  <a:pt x="187738" y="535686"/>
                </a:cubicBezTo>
                <a:cubicBezTo>
                  <a:pt x="187166" y="490156"/>
                  <a:pt x="223552" y="452914"/>
                  <a:pt x="269081" y="452342"/>
                </a:cubicBezTo>
                <a:cubicBezTo>
                  <a:pt x="314516" y="451771"/>
                  <a:pt x="351854" y="488156"/>
                  <a:pt x="352425" y="533686"/>
                </a:cubicBezTo>
                <a:cubicBezTo>
                  <a:pt x="352997" y="579120"/>
                  <a:pt x="316516" y="616458"/>
                  <a:pt x="271082" y="617030"/>
                </a:cubicBezTo>
                <a:close/>
                <a:moveTo>
                  <a:pt x="1569054" y="776002"/>
                </a:moveTo>
                <a:lnTo>
                  <a:pt x="1716024" y="691134"/>
                </a:lnTo>
                <a:lnTo>
                  <a:pt x="1635062" y="550831"/>
                </a:lnTo>
                <a:lnTo>
                  <a:pt x="1487996" y="635698"/>
                </a:lnTo>
                <a:cubicBezTo>
                  <a:pt x="1474184" y="619792"/>
                  <a:pt x="1459326" y="604838"/>
                  <a:pt x="1443419" y="591026"/>
                </a:cubicBezTo>
                <a:lnTo>
                  <a:pt x="1528286" y="443960"/>
                </a:lnTo>
                <a:lnTo>
                  <a:pt x="1387983" y="362998"/>
                </a:lnTo>
                <a:lnTo>
                  <a:pt x="1303115" y="509968"/>
                </a:lnTo>
                <a:cubicBezTo>
                  <a:pt x="1283398" y="503110"/>
                  <a:pt x="1263015" y="497681"/>
                  <a:pt x="1242060" y="493681"/>
                </a:cubicBezTo>
                <a:lnTo>
                  <a:pt x="1242060" y="324041"/>
                </a:lnTo>
                <a:lnTo>
                  <a:pt x="1080040" y="324041"/>
                </a:lnTo>
                <a:lnTo>
                  <a:pt x="1080040" y="493681"/>
                </a:lnTo>
                <a:cubicBezTo>
                  <a:pt x="1059085" y="497681"/>
                  <a:pt x="1038797" y="503110"/>
                  <a:pt x="1018985" y="509968"/>
                </a:cubicBezTo>
                <a:lnTo>
                  <a:pt x="934117" y="362998"/>
                </a:lnTo>
                <a:lnTo>
                  <a:pt x="793814" y="443960"/>
                </a:lnTo>
                <a:lnTo>
                  <a:pt x="878681" y="591026"/>
                </a:lnTo>
                <a:cubicBezTo>
                  <a:pt x="862775" y="604838"/>
                  <a:pt x="847820" y="619697"/>
                  <a:pt x="834009" y="635698"/>
                </a:cubicBezTo>
                <a:lnTo>
                  <a:pt x="687134" y="550831"/>
                </a:lnTo>
                <a:lnTo>
                  <a:pt x="606171" y="691134"/>
                </a:lnTo>
                <a:lnTo>
                  <a:pt x="753142" y="776002"/>
                </a:lnTo>
                <a:cubicBezTo>
                  <a:pt x="746284" y="795718"/>
                  <a:pt x="740759" y="816102"/>
                  <a:pt x="736854" y="837057"/>
                </a:cubicBezTo>
                <a:lnTo>
                  <a:pt x="567119" y="837057"/>
                </a:lnTo>
                <a:lnTo>
                  <a:pt x="567119" y="999077"/>
                </a:lnTo>
                <a:lnTo>
                  <a:pt x="736854" y="999077"/>
                </a:lnTo>
                <a:cubicBezTo>
                  <a:pt x="740855" y="1020032"/>
                  <a:pt x="746284" y="1040416"/>
                  <a:pt x="753142" y="1060133"/>
                </a:cubicBezTo>
                <a:lnTo>
                  <a:pt x="606171" y="1145000"/>
                </a:lnTo>
                <a:lnTo>
                  <a:pt x="687134" y="1285304"/>
                </a:lnTo>
                <a:lnTo>
                  <a:pt x="834200" y="1200436"/>
                </a:lnTo>
                <a:cubicBezTo>
                  <a:pt x="848011" y="1216343"/>
                  <a:pt x="862870" y="1231297"/>
                  <a:pt x="878872" y="1245108"/>
                </a:cubicBezTo>
                <a:lnTo>
                  <a:pt x="794004" y="1392174"/>
                </a:lnTo>
                <a:lnTo>
                  <a:pt x="934308" y="1473136"/>
                </a:lnTo>
                <a:lnTo>
                  <a:pt x="1019175" y="1326166"/>
                </a:lnTo>
                <a:cubicBezTo>
                  <a:pt x="1038892" y="1333024"/>
                  <a:pt x="1059276" y="1338548"/>
                  <a:pt x="1080231" y="1342454"/>
                </a:cubicBezTo>
                <a:lnTo>
                  <a:pt x="1080231" y="1512189"/>
                </a:lnTo>
                <a:lnTo>
                  <a:pt x="1242251" y="1512189"/>
                </a:lnTo>
                <a:lnTo>
                  <a:pt x="1242251" y="1342454"/>
                </a:lnTo>
                <a:cubicBezTo>
                  <a:pt x="1263206" y="1338453"/>
                  <a:pt x="1283494" y="1333024"/>
                  <a:pt x="1303306" y="1326166"/>
                </a:cubicBezTo>
                <a:lnTo>
                  <a:pt x="1388173" y="1473136"/>
                </a:lnTo>
                <a:lnTo>
                  <a:pt x="1528477" y="1392174"/>
                </a:lnTo>
                <a:lnTo>
                  <a:pt x="1443609" y="1245108"/>
                </a:lnTo>
                <a:cubicBezTo>
                  <a:pt x="1459516" y="1231297"/>
                  <a:pt x="1474470" y="1216438"/>
                  <a:pt x="1488186" y="1200436"/>
                </a:cubicBezTo>
                <a:lnTo>
                  <a:pt x="1635252" y="1285304"/>
                </a:lnTo>
                <a:lnTo>
                  <a:pt x="1716214" y="1145000"/>
                </a:lnTo>
                <a:lnTo>
                  <a:pt x="1569244" y="1060133"/>
                </a:lnTo>
                <a:cubicBezTo>
                  <a:pt x="1576102" y="1040416"/>
                  <a:pt x="1581626" y="1020032"/>
                  <a:pt x="1585532" y="999077"/>
                </a:cubicBezTo>
                <a:lnTo>
                  <a:pt x="1755267" y="999077"/>
                </a:lnTo>
                <a:lnTo>
                  <a:pt x="1755267" y="837057"/>
                </a:lnTo>
                <a:lnTo>
                  <a:pt x="1585341" y="837057"/>
                </a:lnTo>
                <a:cubicBezTo>
                  <a:pt x="1581436" y="816102"/>
                  <a:pt x="1575911" y="795718"/>
                  <a:pt x="1569054" y="776002"/>
                </a:cubicBezTo>
                <a:close/>
                <a:moveTo>
                  <a:pt x="1431036" y="972026"/>
                </a:moveTo>
                <a:lnTo>
                  <a:pt x="1342073" y="972026"/>
                </a:lnTo>
                <a:cubicBezTo>
                  <a:pt x="1338358" y="984599"/>
                  <a:pt x="1333405" y="996601"/>
                  <a:pt x="1327309" y="1007935"/>
                </a:cubicBezTo>
                <a:lnTo>
                  <a:pt x="1390174" y="1070801"/>
                </a:lnTo>
                <a:lnTo>
                  <a:pt x="1313783" y="1147191"/>
                </a:lnTo>
                <a:lnTo>
                  <a:pt x="1250918" y="1084326"/>
                </a:lnTo>
                <a:cubicBezTo>
                  <a:pt x="1239584" y="1090422"/>
                  <a:pt x="1227582" y="1095375"/>
                  <a:pt x="1215009" y="1099090"/>
                </a:cubicBezTo>
                <a:lnTo>
                  <a:pt x="1215009" y="1188053"/>
                </a:lnTo>
                <a:lnTo>
                  <a:pt x="1106996" y="1188053"/>
                </a:lnTo>
                <a:lnTo>
                  <a:pt x="1106996" y="1099090"/>
                </a:lnTo>
                <a:cubicBezTo>
                  <a:pt x="1094423" y="1095375"/>
                  <a:pt x="1082421" y="1090422"/>
                  <a:pt x="1071086" y="1084326"/>
                </a:cubicBezTo>
                <a:lnTo>
                  <a:pt x="1008222" y="1147191"/>
                </a:lnTo>
                <a:lnTo>
                  <a:pt x="931831" y="1070801"/>
                </a:lnTo>
                <a:lnTo>
                  <a:pt x="994696" y="1007935"/>
                </a:lnTo>
                <a:cubicBezTo>
                  <a:pt x="988600" y="996601"/>
                  <a:pt x="983647" y="984599"/>
                  <a:pt x="979932" y="972026"/>
                </a:cubicBezTo>
                <a:lnTo>
                  <a:pt x="890969" y="972026"/>
                </a:lnTo>
                <a:lnTo>
                  <a:pt x="890969" y="864013"/>
                </a:lnTo>
                <a:lnTo>
                  <a:pt x="979932" y="864013"/>
                </a:lnTo>
                <a:cubicBezTo>
                  <a:pt x="983647" y="851440"/>
                  <a:pt x="988600" y="839438"/>
                  <a:pt x="994696" y="828104"/>
                </a:cubicBezTo>
                <a:lnTo>
                  <a:pt x="931831" y="765238"/>
                </a:lnTo>
                <a:lnTo>
                  <a:pt x="1008222" y="688848"/>
                </a:lnTo>
                <a:lnTo>
                  <a:pt x="1071086" y="751713"/>
                </a:lnTo>
                <a:cubicBezTo>
                  <a:pt x="1082421" y="745617"/>
                  <a:pt x="1094423" y="740664"/>
                  <a:pt x="1106996" y="736949"/>
                </a:cubicBezTo>
                <a:lnTo>
                  <a:pt x="1106996" y="647986"/>
                </a:lnTo>
                <a:lnTo>
                  <a:pt x="1215009" y="647986"/>
                </a:lnTo>
                <a:lnTo>
                  <a:pt x="1215009" y="736949"/>
                </a:lnTo>
                <a:cubicBezTo>
                  <a:pt x="1227582" y="740664"/>
                  <a:pt x="1239584" y="745617"/>
                  <a:pt x="1250918" y="751713"/>
                </a:cubicBezTo>
                <a:lnTo>
                  <a:pt x="1313783" y="688848"/>
                </a:lnTo>
                <a:lnTo>
                  <a:pt x="1390174" y="765238"/>
                </a:lnTo>
                <a:lnTo>
                  <a:pt x="1327309" y="828104"/>
                </a:lnTo>
                <a:cubicBezTo>
                  <a:pt x="1333405" y="839438"/>
                  <a:pt x="1338358" y="851440"/>
                  <a:pt x="1342073" y="864013"/>
                </a:cubicBezTo>
                <a:lnTo>
                  <a:pt x="1431036" y="864013"/>
                </a:lnTo>
                <a:lnTo>
                  <a:pt x="1431036" y="972026"/>
                </a:lnTo>
                <a:close/>
                <a:moveTo>
                  <a:pt x="1248823" y="916876"/>
                </a:moveTo>
                <a:cubicBezTo>
                  <a:pt x="1249395" y="965359"/>
                  <a:pt x="1210628" y="1005078"/>
                  <a:pt x="1162145" y="1005745"/>
                </a:cubicBezTo>
                <a:cubicBezTo>
                  <a:pt x="1113663" y="1006316"/>
                  <a:pt x="1073944" y="967550"/>
                  <a:pt x="1073277" y="919067"/>
                </a:cubicBezTo>
                <a:cubicBezTo>
                  <a:pt x="1072706" y="870585"/>
                  <a:pt x="1111472" y="830866"/>
                  <a:pt x="1159955" y="830199"/>
                </a:cubicBezTo>
                <a:cubicBezTo>
                  <a:pt x="1208437" y="829627"/>
                  <a:pt x="1248156" y="868394"/>
                  <a:pt x="1248823" y="916876"/>
                </a:cubicBezTo>
                <a:close/>
              </a:path>
            </a:pathLst>
          </a:custGeom>
          <a:solidFill>
            <a:schemeClr val="tx2"/>
          </a:solidFill>
          <a:ln w="9525" cap="flat">
            <a:noFill/>
            <a:prstDash val="solid"/>
            <a:miter/>
          </a:ln>
        </p:spPr>
        <p:txBody>
          <a:bodyPr rtlCol="0" anchor="ctr"/>
          <a:lstStyle/>
          <a:p>
            <a:endParaRPr lang="en-US"/>
          </a:p>
        </p:txBody>
      </p:sp>
      <p:sp>
        <p:nvSpPr>
          <p:cNvPr id="77" name="Rechteck 76">
            <a:extLst>
              <a:ext uri="{FF2B5EF4-FFF2-40B4-BE49-F238E27FC236}">
                <a16:creationId xmlns:a16="http://schemas.microsoft.com/office/drawing/2014/main" id="{0631B3CE-ADDC-18C8-221A-87FB76615CAE}"/>
              </a:ext>
            </a:extLst>
          </p:cNvPr>
          <p:cNvSpPr>
            <a:spLocks/>
          </p:cNvSpPr>
          <p:nvPr/>
        </p:nvSpPr>
        <p:spPr>
          <a:xfrm>
            <a:off x="8053016" y="6163002"/>
            <a:ext cx="95250" cy="95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8" name="Rechteck 77">
            <a:extLst>
              <a:ext uri="{FF2B5EF4-FFF2-40B4-BE49-F238E27FC236}">
                <a16:creationId xmlns:a16="http://schemas.microsoft.com/office/drawing/2014/main" id="{B02515D2-08C1-7FE4-3CC2-152252B956AD}"/>
              </a:ext>
            </a:extLst>
          </p:cNvPr>
          <p:cNvSpPr>
            <a:spLocks/>
          </p:cNvSpPr>
          <p:nvPr/>
        </p:nvSpPr>
        <p:spPr>
          <a:xfrm>
            <a:off x="9188553" y="6163002"/>
            <a:ext cx="95250" cy="95250"/>
          </a:xfrm>
          <a:prstGeom prst="rect">
            <a:avLst/>
          </a:prstGeom>
          <a:pattFill prst="wdUpDiag">
            <a:fgClr>
              <a:schemeClr val="tx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0" name="TextBox 18">
            <a:extLst>
              <a:ext uri="{FF2B5EF4-FFF2-40B4-BE49-F238E27FC236}">
                <a16:creationId xmlns:a16="http://schemas.microsoft.com/office/drawing/2014/main" id="{4CD70F27-50FF-1380-EC71-D504FCCF8E16}"/>
              </a:ext>
            </a:extLst>
          </p:cNvPr>
          <p:cNvSpPr txBox="1">
            <a:spLocks/>
          </p:cNvSpPr>
          <p:nvPr/>
        </p:nvSpPr>
        <p:spPr>
          <a:xfrm>
            <a:off x="8191446" y="6144178"/>
            <a:ext cx="985525"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dirty="0">
                <a:solidFill>
                  <a:schemeClr val="bg1"/>
                </a:solidFill>
              </a:rPr>
              <a:t>High cost scenario</a:t>
            </a:r>
          </a:p>
        </p:txBody>
      </p:sp>
      <p:sp>
        <p:nvSpPr>
          <p:cNvPr id="81" name="TextBox 18">
            <a:extLst>
              <a:ext uri="{FF2B5EF4-FFF2-40B4-BE49-F238E27FC236}">
                <a16:creationId xmlns:a16="http://schemas.microsoft.com/office/drawing/2014/main" id="{CB56E9A7-FA2E-FF27-A1B8-8CC78AD75FDC}"/>
              </a:ext>
            </a:extLst>
          </p:cNvPr>
          <p:cNvSpPr txBox="1">
            <a:spLocks/>
          </p:cNvSpPr>
          <p:nvPr/>
        </p:nvSpPr>
        <p:spPr>
          <a:xfrm>
            <a:off x="9327460" y="6140383"/>
            <a:ext cx="927790"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Low cost scenario</a:t>
            </a:r>
          </a:p>
        </p:txBody>
      </p:sp>
      <p:sp>
        <p:nvSpPr>
          <p:cNvPr id="83" name="Rechteck 82">
            <a:extLst>
              <a:ext uri="{FF2B5EF4-FFF2-40B4-BE49-F238E27FC236}">
                <a16:creationId xmlns:a16="http://schemas.microsoft.com/office/drawing/2014/main" id="{2A4699DF-1B8D-B405-7A66-3358D0908634}"/>
              </a:ext>
            </a:extLst>
          </p:cNvPr>
          <p:cNvSpPr>
            <a:spLocks/>
          </p:cNvSpPr>
          <p:nvPr/>
        </p:nvSpPr>
        <p:spPr>
          <a:xfrm>
            <a:off x="10298907" y="6163002"/>
            <a:ext cx="95250"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4" name="TextBox 18">
            <a:extLst>
              <a:ext uri="{FF2B5EF4-FFF2-40B4-BE49-F238E27FC236}">
                <a16:creationId xmlns:a16="http://schemas.microsoft.com/office/drawing/2014/main" id="{BE3CC812-7DCB-30ED-4BD7-67BDB0FA4A1A}"/>
              </a:ext>
            </a:extLst>
          </p:cNvPr>
          <p:cNvSpPr txBox="1">
            <a:spLocks/>
          </p:cNvSpPr>
          <p:nvPr/>
        </p:nvSpPr>
        <p:spPr>
          <a:xfrm>
            <a:off x="10437814" y="6140383"/>
            <a:ext cx="207961"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RF</a:t>
            </a:r>
            <a:endParaRPr lang="en-US" sz="900">
              <a:solidFill>
                <a:schemeClr val="bg1"/>
              </a:solidFill>
            </a:endParaRPr>
          </a:p>
        </p:txBody>
      </p:sp>
      <p:sp>
        <p:nvSpPr>
          <p:cNvPr id="85" name="Rechteck 84">
            <a:extLst>
              <a:ext uri="{FF2B5EF4-FFF2-40B4-BE49-F238E27FC236}">
                <a16:creationId xmlns:a16="http://schemas.microsoft.com/office/drawing/2014/main" id="{859F1970-6121-DD7F-7675-75A1DC9A0B75}"/>
              </a:ext>
            </a:extLst>
          </p:cNvPr>
          <p:cNvSpPr>
            <a:spLocks/>
          </p:cNvSpPr>
          <p:nvPr/>
        </p:nvSpPr>
        <p:spPr>
          <a:xfrm>
            <a:off x="10645775" y="6163002"/>
            <a:ext cx="95250" cy="95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6" name="TextBox 18">
            <a:extLst>
              <a:ext uri="{FF2B5EF4-FFF2-40B4-BE49-F238E27FC236}">
                <a16:creationId xmlns:a16="http://schemas.microsoft.com/office/drawing/2014/main" id="{9850F156-29E4-F11B-62D8-9749BBA39D65}"/>
              </a:ext>
            </a:extLst>
          </p:cNvPr>
          <p:cNvSpPr txBox="1">
            <a:spLocks/>
          </p:cNvSpPr>
          <p:nvPr/>
        </p:nvSpPr>
        <p:spPr>
          <a:xfrm>
            <a:off x="10784683" y="6140383"/>
            <a:ext cx="276224"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OCL</a:t>
            </a:r>
            <a:endParaRPr lang="en-US" sz="900">
              <a:solidFill>
                <a:schemeClr val="bg1"/>
              </a:solidFill>
            </a:endParaRPr>
          </a:p>
        </p:txBody>
      </p:sp>
      <p:sp>
        <p:nvSpPr>
          <p:cNvPr id="87" name="Rechteck 86">
            <a:extLst>
              <a:ext uri="{FF2B5EF4-FFF2-40B4-BE49-F238E27FC236}">
                <a16:creationId xmlns:a16="http://schemas.microsoft.com/office/drawing/2014/main" id="{881E56DD-C563-14FA-BB5A-7D946BEE1D4C}"/>
              </a:ext>
            </a:extLst>
          </p:cNvPr>
          <p:cNvSpPr>
            <a:spLocks/>
          </p:cNvSpPr>
          <p:nvPr/>
        </p:nvSpPr>
        <p:spPr>
          <a:xfrm>
            <a:off x="11072814" y="6163002"/>
            <a:ext cx="95250"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8" name="TextBox 18">
            <a:extLst>
              <a:ext uri="{FF2B5EF4-FFF2-40B4-BE49-F238E27FC236}">
                <a16:creationId xmlns:a16="http://schemas.microsoft.com/office/drawing/2014/main" id="{9F23D1EA-E13A-89C8-EBAB-59ED101BC397}"/>
              </a:ext>
            </a:extLst>
          </p:cNvPr>
          <p:cNvSpPr txBox="1">
            <a:spLocks/>
          </p:cNvSpPr>
          <p:nvPr/>
        </p:nvSpPr>
        <p:spPr>
          <a:xfrm>
            <a:off x="11211722" y="6140383"/>
            <a:ext cx="611184"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FCEV (PtG)</a:t>
            </a:r>
          </a:p>
        </p:txBody>
      </p:sp>
    </p:spTree>
    <p:extLst>
      <p:ext uri="{BB962C8B-B14F-4D97-AF65-F5344CB8AC3E}">
        <p14:creationId xmlns:p14="http://schemas.microsoft.com/office/powerpoint/2010/main" val="743985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4DB9DC5B-4762-810E-E669-5DCE0E8E32E9}"/>
              </a:ext>
            </a:extLst>
          </p:cNvPr>
          <p:cNvSpPr txBox="1">
            <a:spLocks/>
          </p:cNvSpPr>
          <p:nvPr/>
        </p:nvSpPr>
        <p:spPr>
          <a:xfrm>
            <a:off x="411163" y="6135301"/>
            <a:ext cx="6096000" cy="140488"/>
          </a:xfrm>
          <a:prstGeom prst="rect">
            <a:avLst/>
          </a:prstGeom>
          <a:noFill/>
        </p:spPr>
        <p:txBody>
          <a:bodyPr wrap="square" lIns="0" tIns="0" rIns="0" bIns="0">
            <a:noAutofit/>
          </a:bodyPr>
          <a:lstStyle/>
          <a:p>
            <a:pPr defTabSz="515164">
              <a:lnSpc>
                <a:spcPct val="110000"/>
              </a:lnSpc>
              <a:defRPr/>
            </a:pPr>
            <a:r>
              <a:rPr lang="en-US" sz="900" b="1" dirty="0">
                <a:solidFill>
                  <a:schemeClr val="bg1"/>
                </a:solidFill>
              </a:rPr>
              <a:t>Source:</a:t>
            </a:r>
            <a:r>
              <a:rPr lang="en-US" sz="900" dirty="0">
                <a:solidFill>
                  <a:schemeClr val="bg1"/>
                </a:solidFill>
                <a:latin typeface="Arial"/>
                <a:ea typeface="Arial Unicode MS" panose="020B0604020202020204" pitchFamily="34" charset="-128"/>
                <a:cs typeface="Arial Unicode MS" panose="020B0604020202020204" pitchFamily="34" charset="-128"/>
              </a:rPr>
              <a:t> </a:t>
            </a:r>
            <a:r>
              <a:rPr lang="en-US" sz="900" dirty="0">
                <a:solidFill>
                  <a:schemeClr val="accent3"/>
                </a:solidFill>
                <a:latin typeface="Arial"/>
                <a:ea typeface="Arial Unicode MS" panose="020B0604020202020204" pitchFamily="34" charset="-128"/>
                <a:cs typeface="Arial Unicode MS" panose="020B0604020202020204" pitchFamily="34" charset="-128"/>
                <a:hlinkClick r:id="rId7">
                  <a:extLst>
                    <a:ext uri="{A12FA001-AC4F-418D-AE19-62706E023703}">
                      <ahyp:hlinkClr xmlns:ahyp="http://schemas.microsoft.com/office/drawing/2018/hyperlinkcolor" val="tx"/>
                    </a:ext>
                  </a:extLst>
                </a:hlinkClick>
              </a:rPr>
              <a:t>https://www.plattform-zukunft-mobilitaet.de/wp-content/uploads/2020/12/NPM_AG1_Werkstattbericht_Nfz.pdf</a:t>
            </a:r>
            <a:r>
              <a:rPr lang="en-US" sz="900" dirty="0">
                <a:solidFill>
                  <a:schemeClr val="accent3"/>
                </a:solidFill>
                <a:latin typeface="Arial"/>
                <a:ea typeface="Arial Unicode MS" panose="020B0604020202020204" pitchFamily="34" charset="-128"/>
                <a:cs typeface="Arial Unicode MS" panose="020B0604020202020204" pitchFamily="34" charset="-128"/>
              </a:rPr>
              <a:t> </a:t>
            </a:r>
          </a:p>
        </p:txBody>
      </p:sp>
      <p:graphicFrame>
        <p:nvGraphicFramePr>
          <p:cNvPr id="4" name="Objekt 3" hidden="1">
            <a:extLst>
              <a:ext uri="{FF2B5EF4-FFF2-40B4-BE49-F238E27FC236}">
                <a16:creationId xmlns:a16="http://schemas.microsoft.com/office/drawing/2014/main" id="{DD63EA56-43D0-04E7-4BE6-708AF44C71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5" progId="TCLayout.ActiveDocument.1">
                  <p:embed/>
                </p:oleObj>
              </mc:Choice>
              <mc:Fallback>
                <p:oleObj name="think-cell Slide" r:id="rId8" imgW="344" imgH="345" progId="TCLayout.ActiveDocument.1">
                  <p:embed/>
                  <p:pic>
                    <p:nvPicPr>
                      <p:cNvPr id="4" name="Objekt 3" hidden="1">
                        <a:extLst>
                          <a:ext uri="{FF2B5EF4-FFF2-40B4-BE49-F238E27FC236}">
                            <a16:creationId xmlns:a16="http://schemas.microsoft.com/office/drawing/2014/main" id="{DD63EA56-43D0-04E7-4BE6-708AF44C713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8" name="Rechteck 67">
            <a:extLst>
              <a:ext uri="{FF2B5EF4-FFF2-40B4-BE49-F238E27FC236}">
                <a16:creationId xmlns:a16="http://schemas.microsoft.com/office/drawing/2014/main" id="{3021305D-1411-5F2F-87FE-4191800AE09F}"/>
              </a:ext>
            </a:extLst>
          </p:cNvPr>
          <p:cNvSpPr>
            <a:spLocks/>
          </p:cNvSpPr>
          <p:nvPr/>
        </p:nvSpPr>
        <p:spPr>
          <a:xfrm>
            <a:off x="1" y="1414463"/>
            <a:ext cx="12192000"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2" name="Titel 1">
            <a:extLst>
              <a:ext uri="{FF2B5EF4-FFF2-40B4-BE49-F238E27FC236}">
                <a16:creationId xmlns:a16="http://schemas.microsoft.com/office/drawing/2014/main" id="{7C52BC0D-591A-A2A8-2E08-6FB29C09C5D1}"/>
              </a:ext>
            </a:extLst>
          </p:cNvPr>
          <p:cNvSpPr>
            <a:spLocks noGrp="1"/>
          </p:cNvSpPr>
          <p:nvPr>
            <p:ph type="title"/>
          </p:nvPr>
        </p:nvSpPr>
        <p:spPr/>
        <p:txBody>
          <a:bodyPr vert="horz"/>
          <a:lstStyle/>
          <a:p>
            <a:r>
              <a:rPr lang="en-US"/>
              <a:t>NPM also sees electric solutions as near cost parity with diesel, </a:t>
            </a:r>
            <a:br>
              <a:rPr lang="en-US"/>
            </a:br>
            <a:r>
              <a:rPr lang="en-US"/>
              <a:t>far ahead of indirect alternatives in 2030</a:t>
            </a:r>
          </a:p>
        </p:txBody>
      </p:sp>
      <p:grpSp>
        <p:nvGrpSpPr>
          <p:cNvPr id="8" name="Gruppieren 7">
            <a:extLst>
              <a:ext uri="{FF2B5EF4-FFF2-40B4-BE49-F238E27FC236}">
                <a16:creationId xmlns:a16="http://schemas.microsoft.com/office/drawing/2014/main" id="{6B110A0B-B2F2-40AC-AB63-F56D43B6F06A}"/>
              </a:ext>
            </a:extLst>
          </p:cNvPr>
          <p:cNvGrpSpPr>
            <a:grpSpLocks/>
          </p:cNvGrpSpPr>
          <p:nvPr/>
        </p:nvGrpSpPr>
        <p:grpSpPr>
          <a:xfrm>
            <a:off x="10274397" y="4678415"/>
            <a:ext cx="1314607" cy="132898"/>
            <a:chOff x="413966" y="5976302"/>
            <a:chExt cx="1314607" cy="132898"/>
          </a:xfrm>
        </p:grpSpPr>
        <p:sp>
          <p:nvSpPr>
            <p:cNvPr id="77" name="Rechteck 76">
              <a:extLst>
                <a:ext uri="{FF2B5EF4-FFF2-40B4-BE49-F238E27FC236}">
                  <a16:creationId xmlns:a16="http://schemas.microsoft.com/office/drawing/2014/main" id="{98AAE68A-B41B-CD3C-F316-CDA939AB0495}"/>
                </a:ext>
              </a:extLst>
            </p:cNvPr>
            <p:cNvSpPr>
              <a:spLocks/>
            </p:cNvSpPr>
            <p:nvPr/>
          </p:nvSpPr>
          <p:spPr>
            <a:xfrm>
              <a:off x="413966" y="5995126"/>
              <a:ext cx="95250" cy="95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9" name="TextBox 18">
              <a:extLst>
                <a:ext uri="{FF2B5EF4-FFF2-40B4-BE49-F238E27FC236}">
                  <a16:creationId xmlns:a16="http://schemas.microsoft.com/office/drawing/2014/main" id="{03DD6013-C40F-6D4E-2484-CF9D0CD49E83}"/>
                </a:ext>
              </a:extLst>
            </p:cNvPr>
            <p:cNvSpPr txBox="1">
              <a:spLocks/>
            </p:cNvSpPr>
            <p:nvPr/>
          </p:nvSpPr>
          <p:spPr>
            <a:xfrm>
              <a:off x="552396" y="5976302"/>
              <a:ext cx="1176177"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Purchase price annuity</a:t>
              </a:r>
            </a:p>
          </p:txBody>
        </p:sp>
      </p:grpSp>
      <p:grpSp>
        <p:nvGrpSpPr>
          <p:cNvPr id="12" name="Gruppieren 11">
            <a:extLst>
              <a:ext uri="{FF2B5EF4-FFF2-40B4-BE49-F238E27FC236}">
                <a16:creationId xmlns:a16="http://schemas.microsoft.com/office/drawing/2014/main" id="{E714459D-2DF5-4949-9269-066122C55A0A}"/>
              </a:ext>
            </a:extLst>
          </p:cNvPr>
          <p:cNvGrpSpPr>
            <a:grpSpLocks/>
          </p:cNvGrpSpPr>
          <p:nvPr/>
        </p:nvGrpSpPr>
        <p:grpSpPr>
          <a:xfrm>
            <a:off x="10274397" y="4357388"/>
            <a:ext cx="1066697" cy="140488"/>
            <a:chOff x="1823823" y="5972507"/>
            <a:chExt cx="1066697" cy="140488"/>
          </a:xfrm>
        </p:grpSpPr>
        <p:sp>
          <p:nvSpPr>
            <p:cNvPr id="78" name="Rechteck 77">
              <a:extLst>
                <a:ext uri="{FF2B5EF4-FFF2-40B4-BE49-F238E27FC236}">
                  <a16:creationId xmlns:a16="http://schemas.microsoft.com/office/drawing/2014/main" id="{CFC91BCD-CCDC-64DF-773F-E0CD669B4829}"/>
                </a:ext>
              </a:extLst>
            </p:cNvPr>
            <p:cNvSpPr>
              <a:spLocks/>
            </p:cNvSpPr>
            <p:nvPr/>
          </p:nvSpPr>
          <p:spPr>
            <a:xfrm>
              <a:off x="1823823" y="5995126"/>
              <a:ext cx="95250"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0" name="TextBox 18">
              <a:extLst>
                <a:ext uri="{FF2B5EF4-FFF2-40B4-BE49-F238E27FC236}">
                  <a16:creationId xmlns:a16="http://schemas.microsoft.com/office/drawing/2014/main" id="{0E95118F-DDD3-65E8-6C4B-2285BA017D89}"/>
                </a:ext>
              </a:extLst>
            </p:cNvPr>
            <p:cNvSpPr txBox="1">
              <a:spLocks/>
            </p:cNvSpPr>
            <p:nvPr/>
          </p:nvSpPr>
          <p:spPr>
            <a:xfrm>
              <a:off x="1962730" y="5972507"/>
              <a:ext cx="927790"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Insurance costs</a:t>
              </a:r>
            </a:p>
          </p:txBody>
        </p:sp>
      </p:grpSp>
      <p:grpSp>
        <p:nvGrpSpPr>
          <p:cNvPr id="13" name="Gruppieren 12">
            <a:extLst>
              <a:ext uri="{FF2B5EF4-FFF2-40B4-BE49-F238E27FC236}">
                <a16:creationId xmlns:a16="http://schemas.microsoft.com/office/drawing/2014/main" id="{2097DE00-9CAF-425E-96D4-ED03A3F6CFFF}"/>
              </a:ext>
            </a:extLst>
          </p:cNvPr>
          <p:cNvGrpSpPr>
            <a:grpSpLocks/>
          </p:cNvGrpSpPr>
          <p:nvPr/>
        </p:nvGrpSpPr>
        <p:grpSpPr>
          <a:xfrm>
            <a:off x="10274397" y="3396295"/>
            <a:ext cx="1574390" cy="138499"/>
            <a:chOff x="2857977" y="5980276"/>
            <a:chExt cx="1574390" cy="138499"/>
          </a:xfrm>
        </p:grpSpPr>
        <p:sp>
          <p:nvSpPr>
            <p:cNvPr id="81" name="Rechteck 80">
              <a:extLst>
                <a:ext uri="{FF2B5EF4-FFF2-40B4-BE49-F238E27FC236}">
                  <a16:creationId xmlns:a16="http://schemas.microsoft.com/office/drawing/2014/main" id="{1C7A364C-C52D-96B3-5B0B-5CF4295908CC}"/>
                </a:ext>
              </a:extLst>
            </p:cNvPr>
            <p:cNvSpPr>
              <a:spLocks/>
            </p:cNvSpPr>
            <p:nvPr/>
          </p:nvSpPr>
          <p:spPr>
            <a:xfrm>
              <a:off x="2857977" y="6002895"/>
              <a:ext cx="95250"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2" name="TextBox 18">
              <a:extLst>
                <a:ext uri="{FF2B5EF4-FFF2-40B4-BE49-F238E27FC236}">
                  <a16:creationId xmlns:a16="http://schemas.microsoft.com/office/drawing/2014/main" id="{5CB8F29A-1036-A9B9-19D9-5BBC1CD96653}"/>
                </a:ext>
              </a:extLst>
            </p:cNvPr>
            <p:cNvSpPr txBox="1">
              <a:spLocks/>
            </p:cNvSpPr>
            <p:nvPr/>
          </p:nvSpPr>
          <p:spPr>
            <a:xfrm>
              <a:off x="2996885" y="5980276"/>
              <a:ext cx="1435482" cy="138499"/>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Maintenance &amp; repair costs</a:t>
              </a:r>
            </a:p>
          </p:txBody>
        </p:sp>
      </p:grpSp>
      <p:grpSp>
        <p:nvGrpSpPr>
          <p:cNvPr id="14" name="Gruppieren 13">
            <a:extLst>
              <a:ext uri="{FF2B5EF4-FFF2-40B4-BE49-F238E27FC236}">
                <a16:creationId xmlns:a16="http://schemas.microsoft.com/office/drawing/2014/main" id="{0CD3B97D-6CF3-44BB-9F1D-FD6BC8C76ACC}"/>
              </a:ext>
            </a:extLst>
          </p:cNvPr>
          <p:cNvGrpSpPr>
            <a:grpSpLocks/>
          </p:cNvGrpSpPr>
          <p:nvPr/>
        </p:nvGrpSpPr>
        <p:grpSpPr>
          <a:xfrm>
            <a:off x="10274397" y="4036361"/>
            <a:ext cx="820515" cy="140488"/>
            <a:chOff x="4505962" y="5973926"/>
            <a:chExt cx="820515" cy="140488"/>
          </a:xfrm>
        </p:grpSpPr>
        <p:sp>
          <p:nvSpPr>
            <p:cNvPr id="83" name="Rechteck 82">
              <a:extLst>
                <a:ext uri="{FF2B5EF4-FFF2-40B4-BE49-F238E27FC236}">
                  <a16:creationId xmlns:a16="http://schemas.microsoft.com/office/drawing/2014/main" id="{A25AB993-40DB-5948-ABC4-4BA5F8FAAD62}"/>
                </a:ext>
              </a:extLst>
            </p:cNvPr>
            <p:cNvSpPr>
              <a:spLocks/>
            </p:cNvSpPr>
            <p:nvPr/>
          </p:nvSpPr>
          <p:spPr>
            <a:xfrm>
              <a:off x="4505962" y="5996545"/>
              <a:ext cx="95250" cy="95250"/>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4" name="TextBox 18">
              <a:extLst>
                <a:ext uri="{FF2B5EF4-FFF2-40B4-BE49-F238E27FC236}">
                  <a16:creationId xmlns:a16="http://schemas.microsoft.com/office/drawing/2014/main" id="{7F6A2A99-A493-3EF8-82D6-7BFFDF5B49BB}"/>
                </a:ext>
              </a:extLst>
            </p:cNvPr>
            <p:cNvSpPr txBox="1">
              <a:spLocks/>
            </p:cNvSpPr>
            <p:nvPr/>
          </p:nvSpPr>
          <p:spPr>
            <a:xfrm>
              <a:off x="4636707" y="5973926"/>
              <a:ext cx="689770"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Energy costs</a:t>
              </a:r>
            </a:p>
            <a:p>
              <a:pPr>
                <a:lnSpc>
                  <a:spcPct val="100000"/>
                </a:lnSpc>
              </a:pPr>
              <a:endParaRPr lang="en-US" sz="900">
                <a:solidFill>
                  <a:schemeClr val="bg1"/>
                </a:solidFill>
              </a:endParaRPr>
            </a:p>
          </p:txBody>
        </p:sp>
      </p:grpSp>
      <p:grpSp>
        <p:nvGrpSpPr>
          <p:cNvPr id="15" name="Gruppieren 14">
            <a:extLst>
              <a:ext uri="{FF2B5EF4-FFF2-40B4-BE49-F238E27FC236}">
                <a16:creationId xmlns:a16="http://schemas.microsoft.com/office/drawing/2014/main" id="{3D048055-983D-4099-92DC-72948EB4CAF4}"/>
              </a:ext>
            </a:extLst>
          </p:cNvPr>
          <p:cNvGrpSpPr>
            <a:grpSpLocks/>
          </p:cNvGrpSpPr>
          <p:nvPr/>
        </p:nvGrpSpPr>
        <p:grpSpPr>
          <a:xfrm>
            <a:off x="10274397" y="3075268"/>
            <a:ext cx="1108228" cy="140488"/>
            <a:chOff x="5425921" y="5971093"/>
            <a:chExt cx="1108228" cy="140488"/>
          </a:xfrm>
        </p:grpSpPr>
        <p:sp>
          <p:nvSpPr>
            <p:cNvPr id="85" name="Rechteck 84">
              <a:extLst>
                <a:ext uri="{FF2B5EF4-FFF2-40B4-BE49-F238E27FC236}">
                  <a16:creationId xmlns:a16="http://schemas.microsoft.com/office/drawing/2014/main" id="{8D95913A-8E8C-7BFD-E949-645F4957B26D}"/>
                </a:ext>
              </a:extLst>
            </p:cNvPr>
            <p:cNvSpPr>
              <a:spLocks/>
            </p:cNvSpPr>
            <p:nvPr/>
          </p:nvSpPr>
          <p:spPr>
            <a:xfrm>
              <a:off x="5425921" y="5993712"/>
              <a:ext cx="95250" cy="952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6" name="TextBox 18">
              <a:extLst>
                <a:ext uri="{FF2B5EF4-FFF2-40B4-BE49-F238E27FC236}">
                  <a16:creationId xmlns:a16="http://schemas.microsoft.com/office/drawing/2014/main" id="{2A5D0AAE-65FB-868A-5F7C-465C56BFE54A}"/>
                </a:ext>
              </a:extLst>
            </p:cNvPr>
            <p:cNvSpPr txBox="1">
              <a:spLocks/>
            </p:cNvSpPr>
            <p:nvPr/>
          </p:nvSpPr>
          <p:spPr>
            <a:xfrm>
              <a:off x="5564828" y="5971093"/>
              <a:ext cx="969321"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Costs of days lost</a:t>
              </a:r>
            </a:p>
          </p:txBody>
        </p:sp>
      </p:grpSp>
      <p:grpSp>
        <p:nvGrpSpPr>
          <p:cNvPr id="20" name="Gruppieren 19">
            <a:extLst>
              <a:ext uri="{FF2B5EF4-FFF2-40B4-BE49-F238E27FC236}">
                <a16:creationId xmlns:a16="http://schemas.microsoft.com/office/drawing/2014/main" id="{2CC6B5E3-93E0-4F8A-AF27-E7958730DDAF}"/>
              </a:ext>
            </a:extLst>
          </p:cNvPr>
          <p:cNvGrpSpPr>
            <a:grpSpLocks/>
          </p:cNvGrpSpPr>
          <p:nvPr/>
        </p:nvGrpSpPr>
        <p:grpSpPr>
          <a:xfrm>
            <a:off x="10274397" y="3715334"/>
            <a:ext cx="1108228" cy="140488"/>
            <a:chOff x="6581212" y="5985532"/>
            <a:chExt cx="1108228" cy="140488"/>
          </a:xfrm>
        </p:grpSpPr>
        <p:sp>
          <p:nvSpPr>
            <p:cNvPr id="87" name="Rechteck 86">
              <a:extLst>
                <a:ext uri="{FF2B5EF4-FFF2-40B4-BE49-F238E27FC236}">
                  <a16:creationId xmlns:a16="http://schemas.microsoft.com/office/drawing/2014/main" id="{CC0E0CDE-249D-A3A6-1FF0-44FE095D626D}"/>
                </a:ext>
              </a:extLst>
            </p:cNvPr>
            <p:cNvSpPr>
              <a:spLocks/>
            </p:cNvSpPr>
            <p:nvPr/>
          </p:nvSpPr>
          <p:spPr>
            <a:xfrm>
              <a:off x="6581212" y="6008151"/>
              <a:ext cx="95250" cy="95250"/>
            </a:xfrm>
            <a:prstGeom prst="rect">
              <a:avLst/>
            </a:prstGeom>
            <a:solidFill>
              <a:srgbClr val="E5E5E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88" name="TextBox 18">
              <a:extLst>
                <a:ext uri="{FF2B5EF4-FFF2-40B4-BE49-F238E27FC236}">
                  <a16:creationId xmlns:a16="http://schemas.microsoft.com/office/drawing/2014/main" id="{66AF2D99-9FB5-5E9E-60AC-1D6027875737}"/>
                </a:ext>
              </a:extLst>
            </p:cNvPr>
            <p:cNvSpPr txBox="1">
              <a:spLocks/>
            </p:cNvSpPr>
            <p:nvPr/>
          </p:nvSpPr>
          <p:spPr>
            <a:xfrm>
              <a:off x="6720119" y="5985532"/>
              <a:ext cx="969321"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AdBlue costs</a:t>
              </a:r>
            </a:p>
          </p:txBody>
        </p:sp>
      </p:grpSp>
      <p:grpSp>
        <p:nvGrpSpPr>
          <p:cNvPr id="46" name="Gruppieren 45">
            <a:extLst>
              <a:ext uri="{FF2B5EF4-FFF2-40B4-BE49-F238E27FC236}">
                <a16:creationId xmlns:a16="http://schemas.microsoft.com/office/drawing/2014/main" id="{AF7C373C-F11B-4EF5-B69A-6266FBC026F1}"/>
              </a:ext>
            </a:extLst>
          </p:cNvPr>
          <p:cNvGrpSpPr>
            <a:grpSpLocks/>
          </p:cNvGrpSpPr>
          <p:nvPr/>
        </p:nvGrpSpPr>
        <p:grpSpPr>
          <a:xfrm>
            <a:off x="10274397" y="2754241"/>
            <a:ext cx="1638207" cy="140488"/>
            <a:chOff x="7534486" y="5985532"/>
            <a:chExt cx="1638207" cy="140488"/>
          </a:xfrm>
        </p:grpSpPr>
        <p:sp>
          <p:nvSpPr>
            <p:cNvPr id="89" name="Rechteck 88">
              <a:extLst>
                <a:ext uri="{FF2B5EF4-FFF2-40B4-BE49-F238E27FC236}">
                  <a16:creationId xmlns:a16="http://schemas.microsoft.com/office/drawing/2014/main" id="{BC944054-A3F2-CC3C-77B8-D05BF3F7F0B3}"/>
                </a:ext>
              </a:extLst>
            </p:cNvPr>
            <p:cNvSpPr>
              <a:spLocks/>
            </p:cNvSpPr>
            <p:nvPr/>
          </p:nvSpPr>
          <p:spPr>
            <a:xfrm>
              <a:off x="7534486" y="6008151"/>
              <a:ext cx="95250" cy="9525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90" name="TextBox 18">
              <a:extLst>
                <a:ext uri="{FF2B5EF4-FFF2-40B4-BE49-F238E27FC236}">
                  <a16:creationId xmlns:a16="http://schemas.microsoft.com/office/drawing/2014/main" id="{B19F0A94-83ED-37D2-484C-77A03AABC181}"/>
                </a:ext>
              </a:extLst>
            </p:cNvPr>
            <p:cNvSpPr txBox="1">
              <a:spLocks/>
            </p:cNvSpPr>
            <p:nvPr/>
          </p:nvSpPr>
          <p:spPr>
            <a:xfrm>
              <a:off x="7673393" y="5985532"/>
              <a:ext cx="1499300"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Infrastructure purchase</a:t>
              </a:r>
            </a:p>
          </p:txBody>
        </p:sp>
      </p:grpSp>
      <p:sp>
        <p:nvSpPr>
          <p:cNvPr id="91" name="TextBox 36">
            <a:extLst>
              <a:ext uri="{FF2B5EF4-FFF2-40B4-BE49-F238E27FC236}">
                <a16:creationId xmlns:a16="http://schemas.microsoft.com/office/drawing/2014/main" id="{7AC17A66-F91B-DCD7-FCB6-81136FBE4D52}"/>
              </a:ext>
            </a:extLst>
          </p:cNvPr>
          <p:cNvSpPr txBox="1">
            <a:spLocks/>
          </p:cNvSpPr>
          <p:nvPr/>
        </p:nvSpPr>
        <p:spPr>
          <a:xfrm>
            <a:off x="4298950" y="1607581"/>
            <a:ext cx="5635568" cy="28110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b="1">
                <a:solidFill>
                  <a:schemeClr val="accent2"/>
                </a:solidFill>
              </a:rPr>
              <a:t>Total Cost of Ownership Semi Truck 40t (reference)</a:t>
            </a:r>
          </a:p>
        </p:txBody>
      </p:sp>
      <p:grpSp>
        <p:nvGrpSpPr>
          <p:cNvPr id="11" name="Gruppieren 10">
            <a:extLst>
              <a:ext uri="{FF2B5EF4-FFF2-40B4-BE49-F238E27FC236}">
                <a16:creationId xmlns:a16="http://schemas.microsoft.com/office/drawing/2014/main" id="{BA5108C6-821E-F795-43C4-9B7ABEBF1BBD}"/>
              </a:ext>
            </a:extLst>
          </p:cNvPr>
          <p:cNvGrpSpPr/>
          <p:nvPr/>
        </p:nvGrpSpPr>
        <p:grpSpPr>
          <a:xfrm>
            <a:off x="4162425" y="2095500"/>
            <a:ext cx="6111973" cy="3681679"/>
            <a:chOff x="4797443" y="2095500"/>
            <a:chExt cx="6970681" cy="3681679"/>
          </a:xfrm>
        </p:grpSpPr>
        <p:grpSp>
          <p:nvGrpSpPr>
            <p:cNvPr id="74" name="Gruppieren 73">
              <a:extLst>
                <a:ext uri="{FF2B5EF4-FFF2-40B4-BE49-F238E27FC236}">
                  <a16:creationId xmlns:a16="http://schemas.microsoft.com/office/drawing/2014/main" id="{27CB9579-A222-D734-A197-845FD1516CFC}"/>
                </a:ext>
              </a:extLst>
            </p:cNvPr>
            <p:cNvGrpSpPr/>
            <p:nvPr/>
          </p:nvGrpSpPr>
          <p:grpSpPr>
            <a:xfrm>
              <a:off x="4797443" y="2223091"/>
              <a:ext cx="6970681" cy="3554088"/>
              <a:chOff x="8061799" y="1853338"/>
              <a:chExt cx="3711101" cy="3920666"/>
            </a:xfrm>
          </p:grpSpPr>
          <p:cxnSp>
            <p:nvCxnSpPr>
              <p:cNvPr id="6" name="Gerader Verbinder 5">
                <a:extLst>
                  <a:ext uri="{FF2B5EF4-FFF2-40B4-BE49-F238E27FC236}">
                    <a16:creationId xmlns:a16="http://schemas.microsoft.com/office/drawing/2014/main" id="{71818810-9EAD-0919-0F3C-88F04BCAEF2A}"/>
                  </a:ext>
                </a:extLst>
              </p:cNvPr>
              <p:cNvCxnSpPr>
                <a:cxnSpLocks/>
              </p:cNvCxnSpPr>
              <p:nvPr/>
            </p:nvCxnSpPr>
            <p:spPr>
              <a:xfrm>
                <a:off x="8401050" y="5178425"/>
                <a:ext cx="337185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6" name="Rechteck 15">
                <a:extLst>
                  <a:ext uri="{FF2B5EF4-FFF2-40B4-BE49-F238E27FC236}">
                    <a16:creationId xmlns:a16="http://schemas.microsoft.com/office/drawing/2014/main" id="{F11E4AFF-6C3C-74C3-F90F-FB52D6D361FA}"/>
                  </a:ext>
                </a:extLst>
              </p:cNvPr>
              <p:cNvSpPr>
                <a:spLocks/>
              </p:cNvSpPr>
              <p:nvPr/>
            </p:nvSpPr>
            <p:spPr>
              <a:xfrm>
                <a:off x="8792209" y="4708525"/>
                <a:ext cx="343551" cy="4698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18" name="Rechteck 17">
                <a:extLst>
                  <a:ext uri="{FF2B5EF4-FFF2-40B4-BE49-F238E27FC236}">
                    <a16:creationId xmlns:a16="http://schemas.microsoft.com/office/drawing/2014/main" id="{4DB154E6-1E51-322B-FD92-F8FE68C621AC}"/>
                  </a:ext>
                </a:extLst>
              </p:cNvPr>
              <p:cNvSpPr>
                <a:spLocks/>
              </p:cNvSpPr>
              <p:nvPr/>
            </p:nvSpPr>
            <p:spPr>
              <a:xfrm>
                <a:off x="8792209" y="4190309"/>
                <a:ext cx="343551" cy="469891"/>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19" name="Rechteck 18">
                <a:extLst>
                  <a:ext uri="{FF2B5EF4-FFF2-40B4-BE49-F238E27FC236}">
                    <a16:creationId xmlns:a16="http://schemas.microsoft.com/office/drawing/2014/main" id="{F09CCA55-C5AA-C00D-BC4E-9CCF87683287}"/>
                  </a:ext>
                </a:extLst>
              </p:cNvPr>
              <p:cNvSpPr>
                <a:spLocks/>
              </p:cNvSpPr>
              <p:nvPr/>
            </p:nvSpPr>
            <p:spPr>
              <a:xfrm>
                <a:off x="8792208" y="4166844"/>
                <a:ext cx="343551" cy="45719"/>
              </a:xfrm>
              <a:prstGeom prst="rect">
                <a:avLst/>
              </a:prstGeom>
              <a:solidFill>
                <a:srgbClr val="E5E5E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17" name="Rechteck 16">
                <a:extLst>
                  <a:ext uri="{FF2B5EF4-FFF2-40B4-BE49-F238E27FC236}">
                    <a16:creationId xmlns:a16="http://schemas.microsoft.com/office/drawing/2014/main" id="{55A73D00-59E2-31A9-2732-2B9EBB3967F4}"/>
                  </a:ext>
                </a:extLst>
              </p:cNvPr>
              <p:cNvSpPr>
                <a:spLocks/>
              </p:cNvSpPr>
              <p:nvPr/>
            </p:nvSpPr>
            <p:spPr>
              <a:xfrm>
                <a:off x="8792210" y="4640263"/>
                <a:ext cx="343551" cy="74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1" name="Rechteck 20">
                <a:extLst>
                  <a:ext uri="{FF2B5EF4-FFF2-40B4-BE49-F238E27FC236}">
                    <a16:creationId xmlns:a16="http://schemas.microsoft.com/office/drawing/2014/main" id="{D6662109-0C5C-2E71-B8BE-E8CEDB2A3E91}"/>
                  </a:ext>
                </a:extLst>
              </p:cNvPr>
              <p:cNvSpPr>
                <a:spLocks/>
              </p:cNvSpPr>
              <p:nvPr/>
            </p:nvSpPr>
            <p:spPr>
              <a:xfrm>
                <a:off x="8792207" y="3708686"/>
                <a:ext cx="343551" cy="4581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2" name="Rechteck 21">
                <a:extLst>
                  <a:ext uri="{FF2B5EF4-FFF2-40B4-BE49-F238E27FC236}">
                    <a16:creationId xmlns:a16="http://schemas.microsoft.com/office/drawing/2014/main" id="{CB4ADB18-5B2D-9EB0-3F4C-2F9E572742B8}"/>
                  </a:ext>
                </a:extLst>
              </p:cNvPr>
              <p:cNvSpPr>
                <a:spLocks/>
              </p:cNvSpPr>
              <p:nvPr/>
            </p:nvSpPr>
            <p:spPr>
              <a:xfrm>
                <a:off x="8792206" y="3662660"/>
                <a:ext cx="343551"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3" name="Rechteck 22">
                <a:extLst>
                  <a:ext uri="{FF2B5EF4-FFF2-40B4-BE49-F238E27FC236}">
                    <a16:creationId xmlns:a16="http://schemas.microsoft.com/office/drawing/2014/main" id="{7929880E-70F2-59FB-E1F8-C40D1CD53BDD}"/>
                  </a:ext>
                </a:extLst>
              </p:cNvPr>
              <p:cNvSpPr>
                <a:spLocks/>
              </p:cNvSpPr>
              <p:nvPr/>
            </p:nvSpPr>
            <p:spPr>
              <a:xfrm>
                <a:off x="9628236" y="4166836"/>
                <a:ext cx="343551" cy="10115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4" name="Rechteck 23">
                <a:extLst>
                  <a:ext uri="{FF2B5EF4-FFF2-40B4-BE49-F238E27FC236}">
                    <a16:creationId xmlns:a16="http://schemas.microsoft.com/office/drawing/2014/main" id="{1A3E2267-08E0-A5D3-9879-EC61A419E47A}"/>
                  </a:ext>
                </a:extLst>
              </p:cNvPr>
              <p:cNvSpPr>
                <a:spLocks/>
              </p:cNvSpPr>
              <p:nvPr/>
            </p:nvSpPr>
            <p:spPr>
              <a:xfrm>
                <a:off x="9628236" y="4094172"/>
                <a:ext cx="343551" cy="74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5" name="Rechteck 24">
                <a:extLst>
                  <a:ext uri="{FF2B5EF4-FFF2-40B4-BE49-F238E27FC236}">
                    <a16:creationId xmlns:a16="http://schemas.microsoft.com/office/drawing/2014/main" id="{2201E5C3-B2CE-9985-0A1A-6B7FDEA00A0D}"/>
                  </a:ext>
                </a:extLst>
              </p:cNvPr>
              <p:cNvSpPr>
                <a:spLocks/>
              </p:cNvSpPr>
              <p:nvPr/>
            </p:nvSpPr>
            <p:spPr>
              <a:xfrm>
                <a:off x="9628236" y="3840166"/>
                <a:ext cx="343551" cy="252686"/>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6" name="Rechteck 25">
                <a:extLst>
                  <a:ext uri="{FF2B5EF4-FFF2-40B4-BE49-F238E27FC236}">
                    <a16:creationId xmlns:a16="http://schemas.microsoft.com/office/drawing/2014/main" id="{54029F3C-FCC5-CF4B-D402-66C6EC0C8A5A}"/>
                  </a:ext>
                </a:extLst>
              </p:cNvPr>
              <p:cNvSpPr>
                <a:spLocks/>
              </p:cNvSpPr>
              <p:nvPr/>
            </p:nvSpPr>
            <p:spPr>
              <a:xfrm>
                <a:off x="9628236" y="3472077"/>
                <a:ext cx="343551" cy="3704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7" name="Rechteck 26">
                <a:extLst>
                  <a:ext uri="{FF2B5EF4-FFF2-40B4-BE49-F238E27FC236}">
                    <a16:creationId xmlns:a16="http://schemas.microsoft.com/office/drawing/2014/main" id="{D10A83CA-46A0-24FE-21C9-234BD28C2003}"/>
                  </a:ext>
                </a:extLst>
              </p:cNvPr>
              <p:cNvSpPr>
                <a:spLocks/>
              </p:cNvSpPr>
              <p:nvPr/>
            </p:nvSpPr>
            <p:spPr>
              <a:xfrm>
                <a:off x="9628236" y="3425049"/>
                <a:ext cx="343551"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8" name="Rechteck 27">
                <a:extLst>
                  <a:ext uri="{FF2B5EF4-FFF2-40B4-BE49-F238E27FC236}">
                    <a16:creationId xmlns:a16="http://schemas.microsoft.com/office/drawing/2014/main" id="{026C51F8-033D-B4B0-7648-36194CF6B5F2}"/>
                  </a:ext>
                </a:extLst>
              </p:cNvPr>
              <p:cNvSpPr>
                <a:spLocks/>
              </p:cNvSpPr>
              <p:nvPr/>
            </p:nvSpPr>
            <p:spPr>
              <a:xfrm>
                <a:off x="9628236" y="3322735"/>
                <a:ext cx="343551" cy="1020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29" name="Rechteck 28">
                <a:extLst>
                  <a:ext uri="{FF2B5EF4-FFF2-40B4-BE49-F238E27FC236}">
                    <a16:creationId xmlns:a16="http://schemas.microsoft.com/office/drawing/2014/main" id="{D835B18D-9E12-2A53-36D5-EDB446C6713B}"/>
                  </a:ext>
                </a:extLst>
              </p:cNvPr>
              <p:cNvSpPr>
                <a:spLocks/>
              </p:cNvSpPr>
              <p:nvPr/>
            </p:nvSpPr>
            <p:spPr>
              <a:xfrm>
                <a:off x="10453162" y="3633224"/>
                <a:ext cx="343551" cy="4638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0" name="Rechteck 29">
                <a:extLst>
                  <a:ext uri="{FF2B5EF4-FFF2-40B4-BE49-F238E27FC236}">
                    <a16:creationId xmlns:a16="http://schemas.microsoft.com/office/drawing/2014/main" id="{A3E6B266-B4BB-AD4C-AF86-81FE72FA0847}"/>
                  </a:ext>
                </a:extLst>
              </p:cNvPr>
              <p:cNvSpPr>
                <a:spLocks/>
              </p:cNvSpPr>
              <p:nvPr/>
            </p:nvSpPr>
            <p:spPr>
              <a:xfrm>
                <a:off x="10453162" y="3588577"/>
                <a:ext cx="343551"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1" name="Rechteck 30">
                <a:extLst>
                  <a:ext uri="{FF2B5EF4-FFF2-40B4-BE49-F238E27FC236}">
                    <a16:creationId xmlns:a16="http://schemas.microsoft.com/office/drawing/2014/main" id="{69D58873-EA3B-E837-9492-805611725E8E}"/>
                  </a:ext>
                </a:extLst>
              </p:cNvPr>
              <p:cNvSpPr>
                <a:spLocks/>
              </p:cNvSpPr>
              <p:nvPr/>
            </p:nvSpPr>
            <p:spPr>
              <a:xfrm>
                <a:off x="10453162" y="4097063"/>
                <a:ext cx="343551" cy="338033"/>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2" name="Rechteck 31">
                <a:extLst>
                  <a:ext uri="{FF2B5EF4-FFF2-40B4-BE49-F238E27FC236}">
                    <a16:creationId xmlns:a16="http://schemas.microsoft.com/office/drawing/2014/main" id="{0F6E2259-CEAD-76AC-1675-12CC4B5E7777}"/>
                  </a:ext>
                </a:extLst>
              </p:cNvPr>
              <p:cNvSpPr>
                <a:spLocks/>
              </p:cNvSpPr>
              <p:nvPr/>
            </p:nvSpPr>
            <p:spPr>
              <a:xfrm>
                <a:off x="10453162" y="4433781"/>
                <a:ext cx="343551" cy="746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3" name="Rechteck 32">
                <a:extLst>
                  <a:ext uri="{FF2B5EF4-FFF2-40B4-BE49-F238E27FC236}">
                    <a16:creationId xmlns:a16="http://schemas.microsoft.com/office/drawing/2014/main" id="{B8B5B939-045D-B1FE-16CF-A3D4C8172A17}"/>
                  </a:ext>
                </a:extLst>
              </p:cNvPr>
              <p:cNvSpPr>
                <a:spLocks/>
              </p:cNvSpPr>
              <p:nvPr/>
            </p:nvSpPr>
            <p:spPr>
              <a:xfrm>
                <a:off x="10453162" y="4508384"/>
                <a:ext cx="343551" cy="6664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4" name="Rechteck 33">
                <a:extLst>
                  <a:ext uri="{FF2B5EF4-FFF2-40B4-BE49-F238E27FC236}">
                    <a16:creationId xmlns:a16="http://schemas.microsoft.com/office/drawing/2014/main" id="{B9F0EFDE-0F0D-E1E4-BF2D-5FDE7941AEA4}"/>
                  </a:ext>
                </a:extLst>
              </p:cNvPr>
              <p:cNvSpPr>
                <a:spLocks/>
              </p:cNvSpPr>
              <p:nvPr/>
            </p:nvSpPr>
            <p:spPr>
              <a:xfrm>
                <a:off x="11296634" y="4083327"/>
                <a:ext cx="343551" cy="1091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5" name="Rechteck 34">
                <a:extLst>
                  <a:ext uri="{FF2B5EF4-FFF2-40B4-BE49-F238E27FC236}">
                    <a16:creationId xmlns:a16="http://schemas.microsoft.com/office/drawing/2014/main" id="{497A178B-12E5-C58D-26F3-3607742CBD6D}"/>
                  </a:ext>
                </a:extLst>
              </p:cNvPr>
              <p:cNvSpPr>
                <a:spLocks/>
              </p:cNvSpPr>
              <p:nvPr/>
            </p:nvSpPr>
            <p:spPr>
              <a:xfrm>
                <a:off x="11296634" y="3980242"/>
                <a:ext cx="343551" cy="1052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6" name="Rechteck 35">
                <a:extLst>
                  <a:ext uri="{FF2B5EF4-FFF2-40B4-BE49-F238E27FC236}">
                    <a16:creationId xmlns:a16="http://schemas.microsoft.com/office/drawing/2014/main" id="{90DD1234-7AA0-17BE-7556-7F9B3A9E298F}"/>
                  </a:ext>
                </a:extLst>
              </p:cNvPr>
              <p:cNvSpPr>
                <a:spLocks/>
              </p:cNvSpPr>
              <p:nvPr/>
            </p:nvSpPr>
            <p:spPr>
              <a:xfrm>
                <a:off x="11296634" y="2683253"/>
                <a:ext cx="343551" cy="1303359"/>
              </a:xfrm>
              <a:prstGeom prst="rect">
                <a:avLst/>
              </a:prstGeom>
              <a:solidFill>
                <a:srgbClr val="9999A9"/>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7" name="Rechteck 36">
                <a:extLst>
                  <a:ext uri="{FF2B5EF4-FFF2-40B4-BE49-F238E27FC236}">
                    <a16:creationId xmlns:a16="http://schemas.microsoft.com/office/drawing/2014/main" id="{5EDCA452-C5A7-EEA7-E2C5-026F7D9C9B05}"/>
                  </a:ext>
                </a:extLst>
              </p:cNvPr>
              <p:cNvSpPr>
                <a:spLocks/>
              </p:cNvSpPr>
              <p:nvPr/>
            </p:nvSpPr>
            <p:spPr>
              <a:xfrm>
                <a:off x="11296634" y="2269350"/>
                <a:ext cx="343551" cy="4139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8" name="Rechteck 37">
                <a:extLst>
                  <a:ext uri="{FF2B5EF4-FFF2-40B4-BE49-F238E27FC236}">
                    <a16:creationId xmlns:a16="http://schemas.microsoft.com/office/drawing/2014/main" id="{76407643-EF82-4863-43F5-4600B28A8F32}"/>
                  </a:ext>
                </a:extLst>
              </p:cNvPr>
              <p:cNvSpPr>
                <a:spLocks/>
              </p:cNvSpPr>
              <p:nvPr/>
            </p:nvSpPr>
            <p:spPr>
              <a:xfrm>
                <a:off x="11296634" y="2224703"/>
                <a:ext cx="343551" cy="4571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ctr"/>
                <a:endParaRPr lang="en-US"/>
              </a:p>
            </p:txBody>
          </p:sp>
          <p:sp>
            <p:nvSpPr>
              <p:cNvPr id="39" name="TextBox 38">
                <a:extLst>
                  <a:ext uri="{FF2B5EF4-FFF2-40B4-BE49-F238E27FC236}">
                    <a16:creationId xmlns:a16="http://schemas.microsoft.com/office/drawing/2014/main" id="{73609F6B-986C-425E-FCE3-663857CEF0B9}"/>
                  </a:ext>
                </a:extLst>
              </p:cNvPr>
              <p:cNvSpPr txBox="1">
                <a:spLocks/>
              </p:cNvSpPr>
              <p:nvPr/>
            </p:nvSpPr>
            <p:spPr>
              <a:xfrm>
                <a:off x="11375911" y="1992672"/>
                <a:ext cx="184998" cy="2513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94%</a:t>
                </a:r>
              </a:p>
            </p:txBody>
          </p:sp>
          <p:sp>
            <p:nvSpPr>
              <p:cNvPr id="40" name="TextBox 38">
                <a:extLst>
                  <a:ext uri="{FF2B5EF4-FFF2-40B4-BE49-F238E27FC236}">
                    <a16:creationId xmlns:a16="http://schemas.microsoft.com/office/drawing/2014/main" id="{87C0F351-0AF4-3C4E-16A5-FAF2F2C00ABF}"/>
                  </a:ext>
                </a:extLst>
              </p:cNvPr>
              <p:cNvSpPr txBox="1">
                <a:spLocks/>
              </p:cNvSpPr>
              <p:nvPr/>
            </p:nvSpPr>
            <p:spPr>
              <a:xfrm>
                <a:off x="9628237" y="3052301"/>
                <a:ext cx="343550" cy="2513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23%</a:t>
                </a:r>
              </a:p>
            </p:txBody>
          </p:sp>
          <p:sp>
            <p:nvSpPr>
              <p:cNvPr id="41" name="TextBox 38">
                <a:extLst>
                  <a:ext uri="{FF2B5EF4-FFF2-40B4-BE49-F238E27FC236}">
                    <a16:creationId xmlns:a16="http://schemas.microsoft.com/office/drawing/2014/main" id="{442489C0-4866-F1A3-4C48-7955D290421C}"/>
                  </a:ext>
                </a:extLst>
              </p:cNvPr>
              <p:cNvSpPr txBox="1">
                <a:spLocks/>
              </p:cNvSpPr>
              <p:nvPr/>
            </p:nvSpPr>
            <p:spPr>
              <a:xfrm>
                <a:off x="10495285" y="3365566"/>
                <a:ext cx="259303" cy="2513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5%</a:t>
                </a:r>
              </a:p>
            </p:txBody>
          </p:sp>
          <p:sp>
            <p:nvSpPr>
              <p:cNvPr id="42" name="TextBox 38">
                <a:extLst>
                  <a:ext uri="{FF2B5EF4-FFF2-40B4-BE49-F238E27FC236}">
                    <a16:creationId xmlns:a16="http://schemas.microsoft.com/office/drawing/2014/main" id="{B2B5A173-6557-A484-E009-91E2EDB0C256}"/>
                  </a:ext>
                </a:extLst>
              </p:cNvPr>
              <p:cNvSpPr txBox="1">
                <a:spLocks/>
              </p:cNvSpPr>
              <p:nvPr/>
            </p:nvSpPr>
            <p:spPr>
              <a:xfrm>
                <a:off x="8061799" y="1853338"/>
                <a:ext cx="292465"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1000">
                    <a:solidFill>
                      <a:schemeClr val="bg1">
                        <a:lumMod val="85000"/>
                      </a:schemeClr>
                    </a:solidFill>
                  </a:rPr>
                  <a:t>125,000</a:t>
                </a:r>
              </a:p>
            </p:txBody>
          </p:sp>
          <p:sp>
            <p:nvSpPr>
              <p:cNvPr id="43" name="TextBox 38">
                <a:extLst>
                  <a:ext uri="{FF2B5EF4-FFF2-40B4-BE49-F238E27FC236}">
                    <a16:creationId xmlns:a16="http://schemas.microsoft.com/office/drawing/2014/main" id="{2057CF63-EC0E-81FE-F7A2-70BA085A3715}"/>
                  </a:ext>
                </a:extLst>
              </p:cNvPr>
              <p:cNvSpPr txBox="1">
                <a:spLocks/>
              </p:cNvSpPr>
              <p:nvPr/>
            </p:nvSpPr>
            <p:spPr>
              <a:xfrm>
                <a:off x="8061799" y="2505124"/>
                <a:ext cx="292465"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1000">
                    <a:solidFill>
                      <a:schemeClr val="bg1">
                        <a:lumMod val="85000"/>
                      </a:schemeClr>
                    </a:solidFill>
                  </a:rPr>
                  <a:t>100,000</a:t>
                </a:r>
              </a:p>
            </p:txBody>
          </p:sp>
          <p:sp>
            <p:nvSpPr>
              <p:cNvPr id="44" name="TextBox 38">
                <a:extLst>
                  <a:ext uri="{FF2B5EF4-FFF2-40B4-BE49-F238E27FC236}">
                    <a16:creationId xmlns:a16="http://schemas.microsoft.com/office/drawing/2014/main" id="{F35CDF2C-C774-F42D-E39C-96E5CAD63A81}"/>
                  </a:ext>
                </a:extLst>
              </p:cNvPr>
              <p:cNvSpPr txBox="1">
                <a:spLocks/>
              </p:cNvSpPr>
              <p:nvPr/>
            </p:nvSpPr>
            <p:spPr>
              <a:xfrm>
                <a:off x="8061799" y="3145167"/>
                <a:ext cx="292465"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1000">
                    <a:solidFill>
                      <a:schemeClr val="bg1">
                        <a:lumMod val="85000"/>
                      </a:schemeClr>
                    </a:solidFill>
                  </a:rPr>
                  <a:t>75,000</a:t>
                </a:r>
              </a:p>
            </p:txBody>
          </p:sp>
          <p:sp>
            <p:nvSpPr>
              <p:cNvPr id="45" name="TextBox 38">
                <a:extLst>
                  <a:ext uri="{FF2B5EF4-FFF2-40B4-BE49-F238E27FC236}">
                    <a16:creationId xmlns:a16="http://schemas.microsoft.com/office/drawing/2014/main" id="{629F80AE-E4E4-0151-BF0A-1F615ED592C8}"/>
                  </a:ext>
                </a:extLst>
              </p:cNvPr>
              <p:cNvSpPr txBox="1">
                <a:spLocks/>
              </p:cNvSpPr>
              <p:nvPr/>
            </p:nvSpPr>
            <p:spPr>
              <a:xfrm>
                <a:off x="8061799" y="3785210"/>
                <a:ext cx="292465"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1000">
                    <a:solidFill>
                      <a:schemeClr val="bg1">
                        <a:lumMod val="85000"/>
                      </a:schemeClr>
                    </a:solidFill>
                  </a:rPr>
                  <a:t>50,000</a:t>
                </a:r>
              </a:p>
            </p:txBody>
          </p:sp>
          <p:sp>
            <p:nvSpPr>
              <p:cNvPr id="48" name="TextBox 38">
                <a:extLst>
                  <a:ext uri="{FF2B5EF4-FFF2-40B4-BE49-F238E27FC236}">
                    <a16:creationId xmlns:a16="http://schemas.microsoft.com/office/drawing/2014/main" id="{D92A3F38-188F-C17D-40B4-989255F5B215}"/>
                  </a:ext>
                </a:extLst>
              </p:cNvPr>
              <p:cNvSpPr txBox="1">
                <a:spLocks/>
              </p:cNvSpPr>
              <p:nvPr/>
            </p:nvSpPr>
            <p:spPr>
              <a:xfrm>
                <a:off x="8061799" y="4425253"/>
                <a:ext cx="292465"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1000">
                    <a:solidFill>
                      <a:schemeClr val="bg1">
                        <a:lumMod val="85000"/>
                      </a:schemeClr>
                    </a:solidFill>
                  </a:rPr>
                  <a:t>25,000</a:t>
                </a:r>
              </a:p>
            </p:txBody>
          </p:sp>
          <p:sp>
            <p:nvSpPr>
              <p:cNvPr id="49" name="TextBox 38">
                <a:extLst>
                  <a:ext uri="{FF2B5EF4-FFF2-40B4-BE49-F238E27FC236}">
                    <a16:creationId xmlns:a16="http://schemas.microsoft.com/office/drawing/2014/main" id="{35F322C7-B7B6-7B21-65DB-841B5EC14017}"/>
                  </a:ext>
                </a:extLst>
              </p:cNvPr>
              <p:cNvSpPr txBox="1">
                <a:spLocks/>
              </p:cNvSpPr>
              <p:nvPr/>
            </p:nvSpPr>
            <p:spPr>
              <a:xfrm>
                <a:off x="8289944" y="5065296"/>
                <a:ext cx="64320" cy="16976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1000">
                    <a:solidFill>
                      <a:schemeClr val="bg1">
                        <a:lumMod val="85000"/>
                      </a:schemeClr>
                    </a:solidFill>
                  </a:rPr>
                  <a:t>0</a:t>
                </a:r>
              </a:p>
            </p:txBody>
          </p:sp>
          <p:sp>
            <p:nvSpPr>
              <p:cNvPr id="50" name="TextBox 38">
                <a:extLst>
                  <a:ext uri="{FF2B5EF4-FFF2-40B4-BE49-F238E27FC236}">
                    <a16:creationId xmlns:a16="http://schemas.microsoft.com/office/drawing/2014/main" id="{15D1D3AA-E010-708F-DA79-175279BD2DD9}"/>
                  </a:ext>
                </a:extLst>
              </p:cNvPr>
              <p:cNvSpPr txBox="1">
                <a:spLocks/>
              </p:cNvSpPr>
              <p:nvPr/>
            </p:nvSpPr>
            <p:spPr>
              <a:xfrm>
                <a:off x="8741496" y="5280780"/>
                <a:ext cx="476996" cy="15278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Diesel truck 2030</a:t>
                </a:r>
              </a:p>
            </p:txBody>
          </p:sp>
          <p:sp>
            <p:nvSpPr>
              <p:cNvPr id="51" name="TextBox 38">
                <a:extLst>
                  <a:ext uri="{FF2B5EF4-FFF2-40B4-BE49-F238E27FC236}">
                    <a16:creationId xmlns:a16="http://schemas.microsoft.com/office/drawing/2014/main" id="{BCC3CB93-799F-08AC-AC65-535342CBFAEE}"/>
                  </a:ext>
                </a:extLst>
              </p:cNvPr>
              <p:cNvSpPr txBox="1">
                <a:spLocks/>
              </p:cNvSpPr>
              <p:nvPr/>
            </p:nvSpPr>
            <p:spPr>
              <a:xfrm>
                <a:off x="9588524" y="5280780"/>
                <a:ext cx="431030" cy="15278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BEV truck 2030</a:t>
                </a:r>
              </a:p>
            </p:txBody>
          </p:sp>
          <p:sp>
            <p:nvSpPr>
              <p:cNvPr id="52" name="TextBox 38">
                <a:extLst>
                  <a:ext uri="{FF2B5EF4-FFF2-40B4-BE49-F238E27FC236}">
                    <a16:creationId xmlns:a16="http://schemas.microsoft.com/office/drawing/2014/main" id="{E8D2E03C-5268-AD7F-CC26-7CBA8C2A1402}"/>
                  </a:ext>
                </a:extLst>
              </p:cNvPr>
              <p:cNvSpPr txBox="1">
                <a:spLocks/>
              </p:cNvSpPr>
              <p:nvPr/>
            </p:nvSpPr>
            <p:spPr>
              <a:xfrm>
                <a:off x="10404620" y="5280780"/>
                <a:ext cx="431030" cy="15278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OCL truck 2030</a:t>
                </a:r>
              </a:p>
            </p:txBody>
          </p:sp>
          <p:sp>
            <p:nvSpPr>
              <p:cNvPr id="53" name="TextBox 38">
                <a:extLst>
                  <a:ext uri="{FF2B5EF4-FFF2-40B4-BE49-F238E27FC236}">
                    <a16:creationId xmlns:a16="http://schemas.microsoft.com/office/drawing/2014/main" id="{BE9767B8-225B-483A-969E-8753554CE61A}"/>
                  </a:ext>
                </a:extLst>
              </p:cNvPr>
              <p:cNvSpPr txBox="1">
                <a:spLocks/>
              </p:cNvSpPr>
              <p:nvPr/>
            </p:nvSpPr>
            <p:spPr>
              <a:xfrm>
                <a:off x="11245924" y="5280780"/>
                <a:ext cx="483413" cy="152784"/>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FCEV truck 2030</a:t>
                </a:r>
              </a:p>
            </p:txBody>
          </p:sp>
          <p:sp>
            <p:nvSpPr>
              <p:cNvPr id="70" name="TextBox 38">
                <a:extLst>
                  <a:ext uri="{FF2B5EF4-FFF2-40B4-BE49-F238E27FC236}">
                    <a16:creationId xmlns:a16="http://schemas.microsoft.com/office/drawing/2014/main" id="{75C9F65D-E3D0-3BEF-34A3-54EC36E26F41}"/>
                  </a:ext>
                </a:extLst>
              </p:cNvPr>
              <p:cNvSpPr txBox="1">
                <a:spLocks/>
              </p:cNvSpPr>
              <p:nvPr/>
            </p:nvSpPr>
            <p:spPr>
              <a:xfrm>
                <a:off x="9885733" y="5621052"/>
                <a:ext cx="562856" cy="152952"/>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US" sz="900">
                    <a:solidFill>
                      <a:schemeClr val="bg1">
                        <a:lumMod val="85000"/>
                      </a:schemeClr>
                    </a:solidFill>
                  </a:rPr>
                  <a:t>€ 2020/a</a:t>
                </a:r>
              </a:p>
            </p:txBody>
          </p:sp>
        </p:grpSp>
        <p:cxnSp>
          <p:nvCxnSpPr>
            <p:cNvPr id="10" name="Gerader Verbinder 9">
              <a:extLst>
                <a:ext uri="{FF2B5EF4-FFF2-40B4-BE49-F238E27FC236}">
                  <a16:creationId xmlns:a16="http://schemas.microsoft.com/office/drawing/2014/main" id="{AC782155-AAA7-E20F-FD67-4EA40056D45E}"/>
                </a:ext>
              </a:extLst>
            </p:cNvPr>
            <p:cNvCxnSpPr/>
            <p:nvPr/>
          </p:nvCxnSpPr>
          <p:spPr>
            <a:xfrm flipV="1">
              <a:off x="5438621" y="2095500"/>
              <a:ext cx="0" cy="3135341"/>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grpSp>
      <p:cxnSp>
        <p:nvCxnSpPr>
          <p:cNvPr id="71" name="Gerader Verbinder 70">
            <a:extLst>
              <a:ext uri="{FF2B5EF4-FFF2-40B4-BE49-F238E27FC236}">
                <a16:creationId xmlns:a16="http://schemas.microsoft.com/office/drawing/2014/main" id="{84BF84F4-E451-4581-A513-16C8E7B35464}"/>
              </a:ext>
            </a:extLst>
          </p:cNvPr>
          <p:cNvCxnSpPr>
            <a:cxnSpLocks/>
          </p:cNvCxnSpPr>
          <p:nvPr/>
        </p:nvCxnSpPr>
        <p:spPr>
          <a:xfrm>
            <a:off x="405572" y="2747374"/>
            <a:ext cx="3536937" cy="0"/>
          </a:xfrm>
          <a:prstGeom prst="line">
            <a:avLst/>
          </a:prstGeom>
          <a:ln w="9525">
            <a:solidFill>
              <a:srgbClr val="33335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76" name="Richtungspfeil 17">
            <a:extLst>
              <a:ext uri="{FF2B5EF4-FFF2-40B4-BE49-F238E27FC236}">
                <a16:creationId xmlns:a16="http://schemas.microsoft.com/office/drawing/2014/main" id="{241FB553-1CBF-4C22-59D2-2D3D015C2732}"/>
              </a:ext>
            </a:extLst>
          </p:cNvPr>
          <p:cNvSpPr>
            <a:spLocks/>
          </p:cNvSpPr>
          <p:nvPr>
            <p:custDataLst>
              <p:tags r:id="rId2"/>
            </p:custDataLst>
          </p:nvPr>
        </p:nvSpPr>
        <p:spPr bwMode="gray">
          <a:xfrm>
            <a:off x="405572" y="1702555"/>
            <a:ext cx="3536937" cy="861774"/>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Where energy efficiency differs greatly the resulting energy costs also dominate the TCO calculation, e.g., almost half the TCO for FCEV is due to energy costs</a:t>
            </a:r>
          </a:p>
        </p:txBody>
      </p:sp>
      <p:sp>
        <p:nvSpPr>
          <p:cNvPr id="92" name="Richtungspfeil 17">
            <a:extLst>
              <a:ext uri="{FF2B5EF4-FFF2-40B4-BE49-F238E27FC236}">
                <a16:creationId xmlns:a16="http://schemas.microsoft.com/office/drawing/2014/main" id="{933A3B32-66F2-147E-A5C0-3AFDFAA8E931}"/>
              </a:ext>
            </a:extLst>
          </p:cNvPr>
          <p:cNvSpPr>
            <a:spLocks/>
          </p:cNvSpPr>
          <p:nvPr>
            <p:custDataLst>
              <p:tags r:id="rId3"/>
            </p:custDataLst>
          </p:nvPr>
        </p:nvSpPr>
        <p:spPr bwMode="gray">
          <a:xfrm>
            <a:off x="405572" y="2930419"/>
            <a:ext cx="3536937" cy="861774"/>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Where energy efficiency is high, the cost of the vehicle dominate the TCO, e.g., almost half the TCO for a BEV is due to the purchase price</a:t>
            </a:r>
          </a:p>
        </p:txBody>
      </p:sp>
      <p:sp>
        <p:nvSpPr>
          <p:cNvPr id="93" name="Richtungspfeil 17">
            <a:extLst>
              <a:ext uri="{FF2B5EF4-FFF2-40B4-BE49-F238E27FC236}">
                <a16:creationId xmlns:a16="http://schemas.microsoft.com/office/drawing/2014/main" id="{2B3C17B4-0DE7-EEDA-7EAE-EC11B10844A7}"/>
              </a:ext>
            </a:extLst>
          </p:cNvPr>
          <p:cNvSpPr>
            <a:spLocks/>
          </p:cNvSpPr>
          <p:nvPr>
            <p:custDataLst>
              <p:tags r:id="rId4"/>
            </p:custDataLst>
          </p:nvPr>
        </p:nvSpPr>
        <p:spPr bwMode="gray">
          <a:xfrm>
            <a:off x="405572" y="4158283"/>
            <a:ext cx="3536937" cy="1292662"/>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Truck for OCL with hybrid drive train slightly higher purchase price than diesel truck. However, a BEV truck for OCL would save on the combustion engine and not need as large a battery, and could be cheaper than a comparable diesel truck (see ECF report)</a:t>
            </a:r>
          </a:p>
        </p:txBody>
      </p:sp>
      <p:cxnSp>
        <p:nvCxnSpPr>
          <p:cNvPr id="94" name="Gerader Verbinder 93">
            <a:extLst>
              <a:ext uri="{FF2B5EF4-FFF2-40B4-BE49-F238E27FC236}">
                <a16:creationId xmlns:a16="http://schemas.microsoft.com/office/drawing/2014/main" id="{78E83F99-A8AE-45AE-8AD9-B23C66E6FC4F}"/>
              </a:ext>
            </a:extLst>
          </p:cNvPr>
          <p:cNvCxnSpPr>
            <a:cxnSpLocks/>
          </p:cNvCxnSpPr>
          <p:nvPr/>
        </p:nvCxnSpPr>
        <p:spPr>
          <a:xfrm>
            <a:off x="405572" y="3975238"/>
            <a:ext cx="3536937" cy="0"/>
          </a:xfrm>
          <a:prstGeom prst="line">
            <a:avLst/>
          </a:prstGeom>
          <a:ln w="9525">
            <a:solidFill>
              <a:srgbClr val="333353"/>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47511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extLst>
              <p:ext uri="{D42A27DB-BD31-4B8C-83A1-F6EECF244321}">
                <p14:modId xmlns:p14="http://schemas.microsoft.com/office/powerpoint/2010/main" val="223775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flexibility</a:t>
            </a:r>
          </a:p>
        </p:txBody>
      </p:sp>
      <p:grpSp>
        <p:nvGrpSpPr>
          <p:cNvPr id="10" name="Gruppieren 9">
            <a:extLst>
              <a:ext uri="{FF2B5EF4-FFF2-40B4-BE49-F238E27FC236}">
                <a16:creationId xmlns:a16="http://schemas.microsoft.com/office/drawing/2014/main" id="{485890B5-A3F1-413B-8958-BA34C2881AC8}"/>
              </a:ext>
            </a:extLst>
          </p:cNvPr>
          <p:cNvGrpSpPr>
            <a:grpSpLocks/>
          </p:cNvGrpSpPr>
          <p:nvPr/>
        </p:nvGrpSpPr>
        <p:grpSpPr>
          <a:xfrm>
            <a:off x="9898857" y="3919131"/>
            <a:ext cx="1888331" cy="1887944"/>
            <a:chOff x="5355001" y="4570465"/>
            <a:chExt cx="419530" cy="419444"/>
          </a:xfrm>
        </p:grpSpPr>
        <p:sp>
          <p:nvSpPr>
            <p:cNvPr id="12" name="Rectangle 12">
              <a:extLst>
                <a:ext uri="{FF2B5EF4-FFF2-40B4-BE49-F238E27FC236}">
                  <a16:creationId xmlns:a16="http://schemas.microsoft.com/office/drawing/2014/main" id="{D8C567C7-3BD0-48F0-82A8-788F8BB3F60A}"/>
                </a:ext>
              </a:extLst>
            </p:cNvPr>
            <p:cNvSpPr>
              <a:spLocks/>
            </p:cNvSpPr>
            <p:nvPr/>
          </p:nvSpPr>
          <p:spPr>
            <a:xfrm>
              <a:off x="5355001" y="4570465"/>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3" name="Freihandform: Form 12">
              <a:extLst>
                <a:ext uri="{FF2B5EF4-FFF2-40B4-BE49-F238E27FC236}">
                  <a16:creationId xmlns:a16="http://schemas.microsoft.com/office/drawing/2014/main" id="{D8F8D5F2-6501-492B-84FD-8D1CC3D9A0BB}"/>
                </a:ext>
              </a:extLst>
            </p:cNvPr>
            <p:cNvSpPr>
              <a:spLocks/>
            </p:cNvSpPr>
            <p:nvPr/>
          </p:nvSpPr>
          <p:spPr>
            <a:xfrm>
              <a:off x="5401903" y="4645819"/>
              <a:ext cx="325726" cy="268736"/>
            </a:xfrm>
            <a:custGeom>
              <a:avLst/>
              <a:gdLst>
                <a:gd name="connsiteX0" fmla="*/ 468887 w 623599"/>
                <a:gd name="connsiteY0" fmla="*/ 135558 h 514492"/>
                <a:gd name="connsiteX1" fmla="*/ 164693 w 623599"/>
                <a:gd name="connsiteY1" fmla="*/ 439752 h 514492"/>
                <a:gd name="connsiteX2" fmla="*/ 0 w 623599"/>
                <a:gd name="connsiteY2" fmla="*/ 439752 h 514492"/>
                <a:gd name="connsiteX3" fmla="*/ 0 w 623599"/>
                <a:gd name="connsiteY3" fmla="*/ 378908 h 514492"/>
                <a:gd name="connsiteX4" fmla="*/ 139502 w 623599"/>
                <a:gd name="connsiteY4" fmla="*/ 378908 h 514492"/>
                <a:gd name="connsiteX5" fmla="*/ 443696 w 623599"/>
                <a:gd name="connsiteY5" fmla="*/ 74741 h 514492"/>
                <a:gd name="connsiteX6" fmla="*/ 443696 w 623599"/>
                <a:gd name="connsiteY6" fmla="*/ 74741 h 514492"/>
                <a:gd name="connsiteX7" fmla="*/ 443696 w 623599"/>
                <a:gd name="connsiteY7" fmla="*/ 74741 h 514492"/>
                <a:gd name="connsiteX8" fmla="*/ 536304 w 623599"/>
                <a:gd name="connsiteY8" fmla="*/ 74741 h 514492"/>
                <a:gd name="connsiteX9" fmla="*/ 493219 w 623599"/>
                <a:gd name="connsiteY9" fmla="*/ 25191 h 514492"/>
                <a:gd name="connsiteX10" fmla="*/ 518410 w 623599"/>
                <a:gd name="connsiteY10" fmla="*/ 0 h 514492"/>
                <a:gd name="connsiteX11" fmla="*/ 623599 w 623599"/>
                <a:gd name="connsiteY11" fmla="*/ 105190 h 514492"/>
                <a:gd name="connsiteX12" fmla="*/ 518410 w 623599"/>
                <a:gd name="connsiteY12" fmla="*/ 210379 h 514492"/>
                <a:gd name="connsiteX13" fmla="*/ 493219 w 623599"/>
                <a:gd name="connsiteY13" fmla="*/ 185189 h 514492"/>
                <a:gd name="connsiteX14" fmla="*/ 536304 w 623599"/>
                <a:gd name="connsiteY14" fmla="*/ 135639 h 514492"/>
                <a:gd name="connsiteX15" fmla="*/ 468887 w 623599"/>
                <a:gd name="connsiteY15" fmla="*/ 135639 h 514492"/>
                <a:gd name="connsiteX16" fmla="*/ 239675 w 623599"/>
                <a:gd name="connsiteY16" fmla="*/ 235731 h 514492"/>
                <a:gd name="connsiteX17" fmla="*/ 282706 w 623599"/>
                <a:gd name="connsiteY17" fmla="*/ 192700 h 514492"/>
                <a:gd name="connsiteX18" fmla="*/ 164720 w 623599"/>
                <a:gd name="connsiteY18" fmla="*/ 74714 h 514492"/>
                <a:gd name="connsiteX19" fmla="*/ 27 w 623599"/>
                <a:gd name="connsiteY19" fmla="*/ 74714 h 514492"/>
                <a:gd name="connsiteX20" fmla="*/ 27 w 623599"/>
                <a:gd name="connsiteY20" fmla="*/ 135558 h 514492"/>
                <a:gd name="connsiteX21" fmla="*/ 139529 w 623599"/>
                <a:gd name="connsiteY21" fmla="*/ 135558 h 514492"/>
                <a:gd name="connsiteX22" fmla="*/ 239675 w 623599"/>
                <a:gd name="connsiteY22" fmla="*/ 235731 h 514492"/>
                <a:gd name="connsiteX23" fmla="*/ 493219 w 623599"/>
                <a:gd name="connsiteY23" fmla="*/ 329358 h 514492"/>
                <a:gd name="connsiteX24" fmla="*/ 536304 w 623599"/>
                <a:gd name="connsiteY24" fmla="*/ 378908 h 514492"/>
                <a:gd name="connsiteX25" fmla="*/ 468887 w 623599"/>
                <a:gd name="connsiteY25" fmla="*/ 378908 h 514492"/>
                <a:gd name="connsiteX26" fmla="*/ 368714 w 623599"/>
                <a:gd name="connsiteY26" fmla="*/ 278735 h 514492"/>
                <a:gd name="connsiteX27" fmla="*/ 325683 w 623599"/>
                <a:gd name="connsiteY27" fmla="*/ 321766 h 514492"/>
                <a:gd name="connsiteX28" fmla="*/ 443669 w 623599"/>
                <a:gd name="connsiteY28" fmla="*/ 439752 h 514492"/>
                <a:gd name="connsiteX29" fmla="*/ 536277 w 623599"/>
                <a:gd name="connsiteY29" fmla="*/ 439752 h 514492"/>
                <a:gd name="connsiteX30" fmla="*/ 493192 w 623599"/>
                <a:gd name="connsiteY30" fmla="*/ 489302 h 514492"/>
                <a:gd name="connsiteX31" fmla="*/ 518383 w 623599"/>
                <a:gd name="connsiteY31" fmla="*/ 514493 h 514492"/>
                <a:gd name="connsiteX32" fmla="*/ 623573 w 623599"/>
                <a:gd name="connsiteY32" fmla="*/ 409303 h 514492"/>
                <a:gd name="connsiteX33" fmla="*/ 518383 w 623599"/>
                <a:gd name="connsiteY33" fmla="*/ 304114 h 514492"/>
                <a:gd name="connsiteX34" fmla="*/ 493219 w 623599"/>
                <a:gd name="connsiteY34" fmla="*/ 329358 h 51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3599" h="514492">
                  <a:moveTo>
                    <a:pt x="468887" y="135558"/>
                  </a:moveTo>
                  <a:lnTo>
                    <a:pt x="164693" y="439752"/>
                  </a:lnTo>
                  <a:lnTo>
                    <a:pt x="0" y="439752"/>
                  </a:lnTo>
                  <a:lnTo>
                    <a:pt x="0" y="378908"/>
                  </a:lnTo>
                  <a:lnTo>
                    <a:pt x="139502" y="378908"/>
                  </a:lnTo>
                  <a:lnTo>
                    <a:pt x="443696" y="74741"/>
                  </a:lnTo>
                  <a:lnTo>
                    <a:pt x="443696" y="74741"/>
                  </a:lnTo>
                  <a:lnTo>
                    <a:pt x="443696" y="74741"/>
                  </a:lnTo>
                  <a:lnTo>
                    <a:pt x="536304" y="74741"/>
                  </a:lnTo>
                  <a:lnTo>
                    <a:pt x="493219" y="25191"/>
                  </a:lnTo>
                  <a:lnTo>
                    <a:pt x="518410" y="0"/>
                  </a:lnTo>
                  <a:lnTo>
                    <a:pt x="623599" y="105190"/>
                  </a:lnTo>
                  <a:lnTo>
                    <a:pt x="518410" y="210379"/>
                  </a:lnTo>
                  <a:lnTo>
                    <a:pt x="493219" y="185189"/>
                  </a:lnTo>
                  <a:lnTo>
                    <a:pt x="536304" y="135639"/>
                  </a:lnTo>
                  <a:lnTo>
                    <a:pt x="468887" y="135639"/>
                  </a:lnTo>
                  <a:close/>
                  <a:moveTo>
                    <a:pt x="239675" y="235731"/>
                  </a:moveTo>
                  <a:lnTo>
                    <a:pt x="282706" y="192700"/>
                  </a:lnTo>
                  <a:lnTo>
                    <a:pt x="164720" y="74714"/>
                  </a:lnTo>
                  <a:lnTo>
                    <a:pt x="27" y="74714"/>
                  </a:lnTo>
                  <a:lnTo>
                    <a:pt x="27" y="135558"/>
                  </a:lnTo>
                  <a:lnTo>
                    <a:pt x="139529" y="135558"/>
                  </a:lnTo>
                  <a:lnTo>
                    <a:pt x="239675" y="235731"/>
                  </a:lnTo>
                  <a:close/>
                  <a:moveTo>
                    <a:pt x="493219" y="329358"/>
                  </a:moveTo>
                  <a:lnTo>
                    <a:pt x="536304" y="378908"/>
                  </a:lnTo>
                  <a:lnTo>
                    <a:pt x="468887" y="378908"/>
                  </a:lnTo>
                  <a:lnTo>
                    <a:pt x="368714" y="278735"/>
                  </a:lnTo>
                  <a:lnTo>
                    <a:pt x="325683" y="321766"/>
                  </a:lnTo>
                  <a:lnTo>
                    <a:pt x="443669" y="439752"/>
                  </a:lnTo>
                  <a:lnTo>
                    <a:pt x="536277" y="439752"/>
                  </a:lnTo>
                  <a:lnTo>
                    <a:pt x="493192" y="489302"/>
                  </a:lnTo>
                  <a:lnTo>
                    <a:pt x="518383" y="514493"/>
                  </a:lnTo>
                  <a:lnTo>
                    <a:pt x="623573" y="409303"/>
                  </a:lnTo>
                  <a:lnTo>
                    <a:pt x="518383" y="304114"/>
                  </a:lnTo>
                  <a:lnTo>
                    <a:pt x="493219" y="329358"/>
                  </a:lnTo>
                  <a:close/>
                </a:path>
              </a:pathLst>
            </a:custGeom>
            <a:solidFill>
              <a:schemeClr val="bg2"/>
            </a:solidFill>
            <a:ln w="2681" cap="flat">
              <a:noFill/>
              <a:prstDash val="solid"/>
              <a:miter/>
            </a:ln>
          </p:spPr>
          <p:txBody>
            <a:bodyPr rtlCol="0" anchor="ctr"/>
            <a:lstStyle/>
            <a:p>
              <a:endParaRPr lang="en-US"/>
            </a:p>
          </p:txBody>
        </p:sp>
      </p:grpSp>
    </p:spTree>
    <p:extLst>
      <p:ext uri="{BB962C8B-B14F-4D97-AF65-F5344CB8AC3E}">
        <p14:creationId xmlns:p14="http://schemas.microsoft.com/office/powerpoint/2010/main" val="2420321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6B5E143-0F81-1315-5CA8-FF10CF6F4DDB}"/>
              </a:ext>
            </a:extLst>
          </p:cNvPr>
          <p:cNvGraphicFramePr>
            <a:graphicFrameLocks noChangeAspect="1"/>
          </p:cNvGraphicFramePr>
          <p:nvPr>
            <p:custDataLst>
              <p:tags r:id="rId1"/>
            </p:custDataLst>
            <p:extLst>
              <p:ext uri="{D42A27DB-BD31-4B8C-83A1-F6EECF244321}">
                <p14:modId xmlns:p14="http://schemas.microsoft.com/office/powerpoint/2010/main" val="3194417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5" name="Objekt 4" hidden="1">
                        <a:extLst>
                          <a:ext uri="{FF2B5EF4-FFF2-40B4-BE49-F238E27FC236}">
                            <a16:creationId xmlns:a16="http://schemas.microsoft.com/office/drawing/2014/main" id="{76B5E143-0F81-1315-5CA8-FF10CF6F4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3" name="Rechteck 202">
            <a:extLst>
              <a:ext uri="{FF2B5EF4-FFF2-40B4-BE49-F238E27FC236}">
                <a16:creationId xmlns:a16="http://schemas.microsoft.com/office/drawing/2014/main" id="{3CB9B77B-513C-F8F8-5CE0-6D47DC9C4A86}"/>
              </a:ext>
            </a:extLst>
          </p:cNvPr>
          <p:cNvSpPr>
            <a:spLocks/>
          </p:cNvSpPr>
          <p:nvPr/>
        </p:nvSpPr>
        <p:spPr>
          <a:xfrm>
            <a:off x="1" y="1679510"/>
            <a:ext cx="12192000" cy="4127566"/>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u="sng"/>
          </a:p>
        </p:txBody>
      </p:sp>
      <p:sp>
        <p:nvSpPr>
          <p:cNvPr id="183" name="Freihandform: Form 8">
            <a:extLst>
              <a:ext uri="{FF2B5EF4-FFF2-40B4-BE49-F238E27FC236}">
                <a16:creationId xmlns:a16="http://schemas.microsoft.com/office/drawing/2014/main" id="{062C6095-036D-4713-89EB-DFD3490221BB}"/>
              </a:ext>
            </a:extLst>
          </p:cNvPr>
          <p:cNvSpPr/>
          <p:nvPr/>
        </p:nvSpPr>
        <p:spPr>
          <a:xfrm>
            <a:off x="2147030" y="377799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84" name="Freihandform: Form 9">
            <a:extLst>
              <a:ext uri="{FF2B5EF4-FFF2-40B4-BE49-F238E27FC236}">
                <a16:creationId xmlns:a16="http://schemas.microsoft.com/office/drawing/2014/main" id="{15EF0332-269C-435A-8499-341B3A99B728}"/>
              </a:ext>
            </a:extLst>
          </p:cNvPr>
          <p:cNvSpPr/>
          <p:nvPr/>
        </p:nvSpPr>
        <p:spPr>
          <a:xfrm>
            <a:off x="2189681" y="381838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85" name="Freihandform: Form 10">
            <a:extLst>
              <a:ext uri="{FF2B5EF4-FFF2-40B4-BE49-F238E27FC236}">
                <a16:creationId xmlns:a16="http://schemas.microsoft.com/office/drawing/2014/main" id="{B1F6FDE7-DE94-46E6-A3D3-3157A221A937}"/>
              </a:ext>
            </a:extLst>
          </p:cNvPr>
          <p:cNvSpPr/>
          <p:nvPr/>
        </p:nvSpPr>
        <p:spPr>
          <a:xfrm>
            <a:off x="401129" y="3338645"/>
            <a:ext cx="1645726" cy="36505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186" name="Freihandform: Form 11">
            <a:extLst>
              <a:ext uri="{FF2B5EF4-FFF2-40B4-BE49-F238E27FC236}">
                <a16:creationId xmlns:a16="http://schemas.microsoft.com/office/drawing/2014/main" id="{0185361C-F4EC-4384-BBE8-E932118CA8BB}"/>
              </a:ext>
            </a:extLst>
          </p:cNvPr>
          <p:cNvSpPr/>
          <p:nvPr/>
        </p:nvSpPr>
        <p:spPr>
          <a:xfrm>
            <a:off x="2093660" y="3421024"/>
            <a:ext cx="384083" cy="492657"/>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87" name="Freihandform: Form 10">
            <a:extLst>
              <a:ext uri="{FF2B5EF4-FFF2-40B4-BE49-F238E27FC236}">
                <a16:creationId xmlns:a16="http://schemas.microsoft.com/office/drawing/2014/main" id="{0826BABB-D2C3-4858-9915-55A234142EFF}"/>
              </a:ext>
            </a:extLst>
          </p:cNvPr>
          <p:cNvSpPr/>
          <p:nvPr/>
        </p:nvSpPr>
        <p:spPr>
          <a:xfrm>
            <a:off x="401129" y="3732770"/>
            <a:ext cx="1178620"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88" name="Freihandform: Form 10">
            <a:extLst>
              <a:ext uri="{FF2B5EF4-FFF2-40B4-BE49-F238E27FC236}">
                <a16:creationId xmlns:a16="http://schemas.microsoft.com/office/drawing/2014/main" id="{3DBB7C3E-07D8-4841-B568-48C7E3106E5C}"/>
              </a:ext>
            </a:extLst>
          </p:cNvPr>
          <p:cNvSpPr/>
          <p:nvPr/>
        </p:nvSpPr>
        <p:spPr>
          <a:xfrm>
            <a:off x="1622400" y="3732770"/>
            <a:ext cx="482379"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90" name="Freihandform: Form 8">
            <a:extLst>
              <a:ext uri="{FF2B5EF4-FFF2-40B4-BE49-F238E27FC236}">
                <a16:creationId xmlns:a16="http://schemas.microsoft.com/office/drawing/2014/main" id="{11B5552F-FFE0-44C4-8041-33AD0C54FF2B}"/>
              </a:ext>
            </a:extLst>
          </p:cNvPr>
          <p:cNvSpPr/>
          <p:nvPr/>
        </p:nvSpPr>
        <p:spPr>
          <a:xfrm>
            <a:off x="870674" y="377799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91" name="Freihandform: Form 8">
            <a:extLst>
              <a:ext uri="{FF2B5EF4-FFF2-40B4-BE49-F238E27FC236}">
                <a16:creationId xmlns:a16="http://schemas.microsoft.com/office/drawing/2014/main" id="{0471F643-919D-46D6-A4BE-228F75DA3977}"/>
              </a:ext>
            </a:extLst>
          </p:cNvPr>
          <p:cNvSpPr/>
          <p:nvPr/>
        </p:nvSpPr>
        <p:spPr>
          <a:xfrm>
            <a:off x="655353" y="377799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92" name="Freihandform: Form 8">
            <a:extLst>
              <a:ext uri="{FF2B5EF4-FFF2-40B4-BE49-F238E27FC236}">
                <a16:creationId xmlns:a16="http://schemas.microsoft.com/office/drawing/2014/main" id="{314AFC5F-21F0-4DC8-A4CA-04B9A72FA841}"/>
              </a:ext>
            </a:extLst>
          </p:cNvPr>
          <p:cNvSpPr/>
          <p:nvPr/>
        </p:nvSpPr>
        <p:spPr>
          <a:xfrm>
            <a:off x="440032" y="377799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93" name="Freihandform: Form 8">
            <a:extLst>
              <a:ext uri="{FF2B5EF4-FFF2-40B4-BE49-F238E27FC236}">
                <a16:creationId xmlns:a16="http://schemas.microsoft.com/office/drawing/2014/main" id="{66655456-5386-4A84-825D-F1843FAA0CB9}"/>
              </a:ext>
            </a:extLst>
          </p:cNvPr>
          <p:cNvSpPr/>
          <p:nvPr/>
        </p:nvSpPr>
        <p:spPr>
          <a:xfrm>
            <a:off x="481688" y="381838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94" name="Freihandform: Form 8">
            <a:extLst>
              <a:ext uri="{FF2B5EF4-FFF2-40B4-BE49-F238E27FC236}">
                <a16:creationId xmlns:a16="http://schemas.microsoft.com/office/drawing/2014/main" id="{A4218C93-1206-4C73-A171-E88DDE0270E2}"/>
              </a:ext>
            </a:extLst>
          </p:cNvPr>
          <p:cNvSpPr/>
          <p:nvPr/>
        </p:nvSpPr>
        <p:spPr>
          <a:xfrm>
            <a:off x="697506" y="381838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95" name="Freihandform: Form 9">
            <a:extLst>
              <a:ext uri="{FF2B5EF4-FFF2-40B4-BE49-F238E27FC236}">
                <a16:creationId xmlns:a16="http://schemas.microsoft.com/office/drawing/2014/main" id="{197216A6-7230-40DB-8B04-FEA3EFCBF92D}"/>
              </a:ext>
            </a:extLst>
          </p:cNvPr>
          <p:cNvSpPr/>
          <p:nvPr/>
        </p:nvSpPr>
        <p:spPr>
          <a:xfrm>
            <a:off x="913325" y="381838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96" name="Freihandform: Form 8">
            <a:extLst>
              <a:ext uri="{FF2B5EF4-FFF2-40B4-BE49-F238E27FC236}">
                <a16:creationId xmlns:a16="http://schemas.microsoft.com/office/drawing/2014/main" id="{73970B15-6663-4C0D-AA42-C60D5E163413}"/>
              </a:ext>
            </a:extLst>
          </p:cNvPr>
          <p:cNvSpPr/>
          <p:nvPr/>
        </p:nvSpPr>
        <p:spPr>
          <a:xfrm>
            <a:off x="1660070" y="377799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97" name="Freihandform: Form 9">
            <a:extLst>
              <a:ext uri="{FF2B5EF4-FFF2-40B4-BE49-F238E27FC236}">
                <a16:creationId xmlns:a16="http://schemas.microsoft.com/office/drawing/2014/main" id="{5DCBE5F2-378F-4246-95DF-ECA28744F9D3}"/>
              </a:ext>
            </a:extLst>
          </p:cNvPr>
          <p:cNvSpPr/>
          <p:nvPr/>
        </p:nvSpPr>
        <p:spPr>
          <a:xfrm>
            <a:off x="1702721" y="381838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18" name="Freihandform: Form 8">
            <a:extLst>
              <a:ext uri="{FF2B5EF4-FFF2-40B4-BE49-F238E27FC236}">
                <a16:creationId xmlns:a16="http://schemas.microsoft.com/office/drawing/2014/main" id="{D6BEBB54-BA43-45B0-A0EC-7EE5EDDA0DCA}"/>
              </a:ext>
            </a:extLst>
          </p:cNvPr>
          <p:cNvSpPr/>
          <p:nvPr/>
        </p:nvSpPr>
        <p:spPr>
          <a:xfrm>
            <a:off x="2147030" y="5140871"/>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19" name="Freihandform: Form 9">
            <a:extLst>
              <a:ext uri="{FF2B5EF4-FFF2-40B4-BE49-F238E27FC236}">
                <a16:creationId xmlns:a16="http://schemas.microsoft.com/office/drawing/2014/main" id="{F5B18BE4-16FE-451B-A782-793DB47174AC}"/>
              </a:ext>
            </a:extLst>
          </p:cNvPr>
          <p:cNvSpPr/>
          <p:nvPr/>
        </p:nvSpPr>
        <p:spPr>
          <a:xfrm>
            <a:off x="2189681" y="5181253"/>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20" name="Freihandform: Form 10">
            <a:extLst>
              <a:ext uri="{FF2B5EF4-FFF2-40B4-BE49-F238E27FC236}">
                <a16:creationId xmlns:a16="http://schemas.microsoft.com/office/drawing/2014/main" id="{7C9F4BDB-9F90-4CD8-BE4A-2C73DACD4956}"/>
              </a:ext>
            </a:extLst>
          </p:cNvPr>
          <p:cNvSpPr/>
          <p:nvPr/>
        </p:nvSpPr>
        <p:spPr>
          <a:xfrm>
            <a:off x="401129" y="4701518"/>
            <a:ext cx="1645726" cy="36505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221" name="Freihandform: Form 11">
            <a:extLst>
              <a:ext uri="{FF2B5EF4-FFF2-40B4-BE49-F238E27FC236}">
                <a16:creationId xmlns:a16="http://schemas.microsoft.com/office/drawing/2014/main" id="{7DE73F3B-11C4-462F-B93D-D915EFAE19C2}"/>
              </a:ext>
            </a:extLst>
          </p:cNvPr>
          <p:cNvSpPr/>
          <p:nvPr/>
        </p:nvSpPr>
        <p:spPr>
          <a:xfrm>
            <a:off x="2093660" y="4783897"/>
            <a:ext cx="384083" cy="492657"/>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22" name="Freihandform: Form 10">
            <a:extLst>
              <a:ext uri="{FF2B5EF4-FFF2-40B4-BE49-F238E27FC236}">
                <a16:creationId xmlns:a16="http://schemas.microsoft.com/office/drawing/2014/main" id="{6E6FB023-C194-4AC0-9D5F-C995A0862AFC}"/>
              </a:ext>
            </a:extLst>
          </p:cNvPr>
          <p:cNvSpPr/>
          <p:nvPr/>
        </p:nvSpPr>
        <p:spPr>
          <a:xfrm>
            <a:off x="401129" y="5095643"/>
            <a:ext cx="1178620"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23" name="Freihandform: Form 10">
            <a:extLst>
              <a:ext uri="{FF2B5EF4-FFF2-40B4-BE49-F238E27FC236}">
                <a16:creationId xmlns:a16="http://schemas.microsoft.com/office/drawing/2014/main" id="{EBDDE6C5-097B-4769-B5AD-1C75B07DA876}"/>
              </a:ext>
            </a:extLst>
          </p:cNvPr>
          <p:cNvSpPr/>
          <p:nvPr/>
        </p:nvSpPr>
        <p:spPr>
          <a:xfrm>
            <a:off x="1622400" y="5095643"/>
            <a:ext cx="482379"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0" name="Freihandform: Form 8">
            <a:extLst>
              <a:ext uri="{FF2B5EF4-FFF2-40B4-BE49-F238E27FC236}">
                <a16:creationId xmlns:a16="http://schemas.microsoft.com/office/drawing/2014/main" id="{820AC4AA-9893-463E-B343-C41C4808A7E9}"/>
              </a:ext>
            </a:extLst>
          </p:cNvPr>
          <p:cNvSpPr/>
          <p:nvPr/>
        </p:nvSpPr>
        <p:spPr>
          <a:xfrm>
            <a:off x="870674" y="5140871"/>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2" name="Freihandform: Form 8">
            <a:extLst>
              <a:ext uri="{FF2B5EF4-FFF2-40B4-BE49-F238E27FC236}">
                <a16:creationId xmlns:a16="http://schemas.microsoft.com/office/drawing/2014/main" id="{BAA8E251-2AD4-4832-AE1C-DC1A84A5428D}"/>
              </a:ext>
            </a:extLst>
          </p:cNvPr>
          <p:cNvSpPr/>
          <p:nvPr/>
        </p:nvSpPr>
        <p:spPr>
          <a:xfrm>
            <a:off x="655353" y="5140871"/>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5" name="Freihandform: Form 8">
            <a:extLst>
              <a:ext uri="{FF2B5EF4-FFF2-40B4-BE49-F238E27FC236}">
                <a16:creationId xmlns:a16="http://schemas.microsoft.com/office/drawing/2014/main" id="{EA8849BF-13AE-41EB-AB6B-98E9A62BA255}"/>
              </a:ext>
            </a:extLst>
          </p:cNvPr>
          <p:cNvSpPr/>
          <p:nvPr/>
        </p:nvSpPr>
        <p:spPr>
          <a:xfrm>
            <a:off x="440032" y="5140871"/>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6" name="Freihandform: Form 8">
            <a:extLst>
              <a:ext uri="{FF2B5EF4-FFF2-40B4-BE49-F238E27FC236}">
                <a16:creationId xmlns:a16="http://schemas.microsoft.com/office/drawing/2014/main" id="{8138F39D-CFBC-4164-8B45-B5516B126EBA}"/>
              </a:ext>
            </a:extLst>
          </p:cNvPr>
          <p:cNvSpPr/>
          <p:nvPr/>
        </p:nvSpPr>
        <p:spPr>
          <a:xfrm>
            <a:off x="481688" y="5181253"/>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7" name="Freihandform: Form 8">
            <a:extLst>
              <a:ext uri="{FF2B5EF4-FFF2-40B4-BE49-F238E27FC236}">
                <a16:creationId xmlns:a16="http://schemas.microsoft.com/office/drawing/2014/main" id="{9BB49996-7160-45FD-809C-DFBDA55021AB}"/>
              </a:ext>
            </a:extLst>
          </p:cNvPr>
          <p:cNvSpPr/>
          <p:nvPr/>
        </p:nvSpPr>
        <p:spPr>
          <a:xfrm>
            <a:off x="697506" y="5181253"/>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8" name="Freihandform: Form 9">
            <a:extLst>
              <a:ext uri="{FF2B5EF4-FFF2-40B4-BE49-F238E27FC236}">
                <a16:creationId xmlns:a16="http://schemas.microsoft.com/office/drawing/2014/main" id="{E6B8EDC9-88F4-4437-B412-6D4388FFE0DA}"/>
              </a:ext>
            </a:extLst>
          </p:cNvPr>
          <p:cNvSpPr/>
          <p:nvPr/>
        </p:nvSpPr>
        <p:spPr>
          <a:xfrm>
            <a:off x="913325" y="5181253"/>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9" name="Freihandform: Form 8">
            <a:extLst>
              <a:ext uri="{FF2B5EF4-FFF2-40B4-BE49-F238E27FC236}">
                <a16:creationId xmlns:a16="http://schemas.microsoft.com/office/drawing/2014/main" id="{145D3D2C-F20A-4D15-BDD9-2761FF59F46B}"/>
              </a:ext>
            </a:extLst>
          </p:cNvPr>
          <p:cNvSpPr/>
          <p:nvPr/>
        </p:nvSpPr>
        <p:spPr>
          <a:xfrm>
            <a:off x="1660070" y="5140871"/>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40" name="Freihandform: Form 9">
            <a:extLst>
              <a:ext uri="{FF2B5EF4-FFF2-40B4-BE49-F238E27FC236}">
                <a16:creationId xmlns:a16="http://schemas.microsoft.com/office/drawing/2014/main" id="{AE40C7E4-DB42-40B3-9C28-83F13261A4FE}"/>
              </a:ext>
            </a:extLst>
          </p:cNvPr>
          <p:cNvSpPr/>
          <p:nvPr/>
        </p:nvSpPr>
        <p:spPr>
          <a:xfrm>
            <a:off x="1702721" y="5181253"/>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38" name="Freihandform: Form 8">
            <a:extLst>
              <a:ext uri="{FF2B5EF4-FFF2-40B4-BE49-F238E27FC236}">
                <a16:creationId xmlns:a16="http://schemas.microsoft.com/office/drawing/2014/main" id="{32DB5550-9A76-417D-90FA-ACB851F08399}"/>
              </a:ext>
            </a:extLst>
          </p:cNvPr>
          <p:cNvSpPr/>
          <p:nvPr/>
        </p:nvSpPr>
        <p:spPr>
          <a:xfrm>
            <a:off x="2147030" y="245937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39" name="Freihandform: Form 9">
            <a:extLst>
              <a:ext uri="{FF2B5EF4-FFF2-40B4-BE49-F238E27FC236}">
                <a16:creationId xmlns:a16="http://schemas.microsoft.com/office/drawing/2014/main" id="{D88C4BD7-F0F9-4628-B96C-2FEA84EE9898}"/>
              </a:ext>
            </a:extLst>
          </p:cNvPr>
          <p:cNvSpPr/>
          <p:nvPr/>
        </p:nvSpPr>
        <p:spPr>
          <a:xfrm>
            <a:off x="2189681" y="249976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40" name="Freihandform: Form 10">
            <a:extLst>
              <a:ext uri="{FF2B5EF4-FFF2-40B4-BE49-F238E27FC236}">
                <a16:creationId xmlns:a16="http://schemas.microsoft.com/office/drawing/2014/main" id="{1AAC02B9-7360-4E99-B9D8-BCA2035E1E2C}"/>
              </a:ext>
            </a:extLst>
          </p:cNvPr>
          <p:cNvSpPr/>
          <p:nvPr/>
        </p:nvSpPr>
        <p:spPr>
          <a:xfrm>
            <a:off x="401129" y="2020025"/>
            <a:ext cx="1645726" cy="36505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141" name="Freihandform: Form 11">
            <a:extLst>
              <a:ext uri="{FF2B5EF4-FFF2-40B4-BE49-F238E27FC236}">
                <a16:creationId xmlns:a16="http://schemas.microsoft.com/office/drawing/2014/main" id="{A444E5DE-855C-4ABB-BA8B-4EF2AAEAC037}"/>
              </a:ext>
            </a:extLst>
          </p:cNvPr>
          <p:cNvSpPr/>
          <p:nvPr/>
        </p:nvSpPr>
        <p:spPr>
          <a:xfrm>
            <a:off x="2093660" y="2102404"/>
            <a:ext cx="384083" cy="492657"/>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2" name="Freihandform: Form 10">
            <a:extLst>
              <a:ext uri="{FF2B5EF4-FFF2-40B4-BE49-F238E27FC236}">
                <a16:creationId xmlns:a16="http://schemas.microsoft.com/office/drawing/2014/main" id="{176DAC8C-9146-48BD-855A-6E28A88E1BFA}"/>
              </a:ext>
            </a:extLst>
          </p:cNvPr>
          <p:cNvSpPr/>
          <p:nvPr/>
        </p:nvSpPr>
        <p:spPr>
          <a:xfrm>
            <a:off x="401129" y="2414150"/>
            <a:ext cx="1178620"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3" name="Freihandform: Form 10">
            <a:extLst>
              <a:ext uri="{FF2B5EF4-FFF2-40B4-BE49-F238E27FC236}">
                <a16:creationId xmlns:a16="http://schemas.microsoft.com/office/drawing/2014/main" id="{87AAEC97-BD76-4CFC-B610-BAC63323A077}"/>
              </a:ext>
            </a:extLst>
          </p:cNvPr>
          <p:cNvSpPr/>
          <p:nvPr/>
        </p:nvSpPr>
        <p:spPr>
          <a:xfrm>
            <a:off x="1622400" y="2414150"/>
            <a:ext cx="482379" cy="18091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4" name="Freihandform: Form 8">
            <a:extLst>
              <a:ext uri="{FF2B5EF4-FFF2-40B4-BE49-F238E27FC236}">
                <a16:creationId xmlns:a16="http://schemas.microsoft.com/office/drawing/2014/main" id="{97A7757D-A292-4BF5-89D4-88AF79CA6598}"/>
              </a:ext>
            </a:extLst>
          </p:cNvPr>
          <p:cNvSpPr/>
          <p:nvPr/>
        </p:nvSpPr>
        <p:spPr>
          <a:xfrm>
            <a:off x="870674" y="245937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5" name="Freihandform: Form 8">
            <a:extLst>
              <a:ext uri="{FF2B5EF4-FFF2-40B4-BE49-F238E27FC236}">
                <a16:creationId xmlns:a16="http://schemas.microsoft.com/office/drawing/2014/main" id="{8E98D596-3435-477D-9577-3BDC43260FFD}"/>
              </a:ext>
            </a:extLst>
          </p:cNvPr>
          <p:cNvSpPr/>
          <p:nvPr/>
        </p:nvSpPr>
        <p:spPr>
          <a:xfrm>
            <a:off x="655353" y="245937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6" name="Freihandform: Form 8">
            <a:extLst>
              <a:ext uri="{FF2B5EF4-FFF2-40B4-BE49-F238E27FC236}">
                <a16:creationId xmlns:a16="http://schemas.microsoft.com/office/drawing/2014/main" id="{F80B086E-6224-4AC3-A343-A35486C245DD}"/>
              </a:ext>
            </a:extLst>
          </p:cNvPr>
          <p:cNvSpPr/>
          <p:nvPr/>
        </p:nvSpPr>
        <p:spPr>
          <a:xfrm>
            <a:off x="440032" y="245937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47" name="Freihandform: Form 8">
            <a:extLst>
              <a:ext uri="{FF2B5EF4-FFF2-40B4-BE49-F238E27FC236}">
                <a16:creationId xmlns:a16="http://schemas.microsoft.com/office/drawing/2014/main" id="{6354AE90-1C0D-47AA-902E-A09365E5B44D}"/>
              </a:ext>
            </a:extLst>
          </p:cNvPr>
          <p:cNvSpPr/>
          <p:nvPr/>
        </p:nvSpPr>
        <p:spPr>
          <a:xfrm>
            <a:off x="481688" y="249976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48" name="Freihandform: Form 8">
            <a:extLst>
              <a:ext uri="{FF2B5EF4-FFF2-40B4-BE49-F238E27FC236}">
                <a16:creationId xmlns:a16="http://schemas.microsoft.com/office/drawing/2014/main" id="{54A40C5D-9322-4458-B937-E2928421FD62}"/>
              </a:ext>
            </a:extLst>
          </p:cNvPr>
          <p:cNvSpPr/>
          <p:nvPr/>
        </p:nvSpPr>
        <p:spPr>
          <a:xfrm>
            <a:off x="697506" y="249976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49" name="Freihandform: Form 9">
            <a:extLst>
              <a:ext uri="{FF2B5EF4-FFF2-40B4-BE49-F238E27FC236}">
                <a16:creationId xmlns:a16="http://schemas.microsoft.com/office/drawing/2014/main" id="{1A83BA36-0802-45ED-ABC1-D9E05B167ACE}"/>
              </a:ext>
            </a:extLst>
          </p:cNvPr>
          <p:cNvSpPr/>
          <p:nvPr/>
        </p:nvSpPr>
        <p:spPr>
          <a:xfrm>
            <a:off x="913325" y="249976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50" name="Freihandform: Form 8">
            <a:extLst>
              <a:ext uri="{FF2B5EF4-FFF2-40B4-BE49-F238E27FC236}">
                <a16:creationId xmlns:a16="http://schemas.microsoft.com/office/drawing/2014/main" id="{70FA02DD-EE25-4A47-97B5-62D4D5E5A1C7}"/>
              </a:ext>
            </a:extLst>
          </p:cNvPr>
          <p:cNvSpPr/>
          <p:nvPr/>
        </p:nvSpPr>
        <p:spPr>
          <a:xfrm>
            <a:off x="1660070" y="2459378"/>
            <a:ext cx="273868" cy="272980"/>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51" name="Freihandform: Form 9">
            <a:extLst>
              <a:ext uri="{FF2B5EF4-FFF2-40B4-BE49-F238E27FC236}">
                <a16:creationId xmlns:a16="http://schemas.microsoft.com/office/drawing/2014/main" id="{657CA839-D167-4B92-8EDA-51A22BE03FE6}"/>
              </a:ext>
            </a:extLst>
          </p:cNvPr>
          <p:cNvSpPr/>
          <p:nvPr/>
        </p:nvSpPr>
        <p:spPr>
          <a:xfrm>
            <a:off x="1702721" y="2499760"/>
            <a:ext cx="192041" cy="192217"/>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 name="Titel 1">
            <a:extLst>
              <a:ext uri="{FF2B5EF4-FFF2-40B4-BE49-F238E27FC236}">
                <a16:creationId xmlns:a16="http://schemas.microsoft.com/office/drawing/2014/main" id="{DCEFB507-10E1-A629-15CD-BEC29610B0EA}"/>
              </a:ext>
            </a:extLst>
          </p:cNvPr>
          <p:cNvSpPr>
            <a:spLocks noGrp="1"/>
          </p:cNvSpPr>
          <p:nvPr>
            <p:ph type="title"/>
          </p:nvPr>
        </p:nvSpPr>
        <p:spPr/>
        <p:txBody>
          <a:bodyPr vert="horz"/>
          <a:lstStyle/>
          <a:p>
            <a:r>
              <a:rPr lang="en-US"/>
              <a:t>Decarbonization of heavy-duty trucks</a:t>
            </a:r>
          </a:p>
        </p:txBody>
      </p:sp>
      <p:sp>
        <p:nvSpPr>
          <p:cNvPr id="6" name="Textfeld 5">
            <a:extLst>
              <a:ext uri="{FF2B5EF4-FFF2-40B4-BE49-F238E27FC236}">
                <a16:creationId xmlns:a16="http://schemas.microsoft.com/office/drawing/2014/main" id="{226048DD-9288-2C6B-1294-A9A074EF1363}"/>
              </a:ext>
            </a:extLst>
          </p:cNvPr>
          <p:cNvSpPr txBox="1">
            <a:spLocks/>
          </p:cNvSpPr>
          <p:nvPr/>
        </p:nvSpPr>
        <p:spPr>
          <a:xfrm>
            <a:off x="411161" y="1397005"/>
            <a:ext cx="3221039" cy="221693"/>
          </a:xfrm>
          <a:prstGeom prst="rect">
            <a:avLst/>
          </a:prstGeom>
        </p:spPr>
        <p:txBody>
          <a:bodyPr vert="horz" lIns="0" tIns="0" rIns="0" bIns="0" rtlCol="0">
            <a:no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Technology options for trucks</a:t>
            </a:r>
          </a:p>
        </p:txBody>
      </p:sp>
      <p:sp>
        <p:nvSpPr>
          <p:cNvPr id="8" name="Textfeld 7">
            <a:extLst>
              <a:ext uri="{FF2B5EF4-FFF2-40B4-BE49-F238E27FC236}">
                <a16:creationId xmlns:a16="http://schemas.microsoft.com/office/drawing/2014/main" id="{52F0A041-40CF-CA62-04D9-A33A8B2792FB}"/>
              </a:ext>
            </a:extLst>
          </p:cNvPr>
          <p:cNvSpPr txBox="1">
            <a:spLocks/>
          </p:cNvSpPr>
          <p:nvPr/>
        </p:nvSpPr>
        <p:spPr>
          <a:xfrm>
            <a:off x="3848200" y="1397006"/>
            <a:ext cx="3247749" cy="215444"/>
          </a:xfrm>
          <a:prstGeom prst="rect">
            <a:avLst/>
          </a:prstGeom>
        </p:spPr>
        <p:txBody>
          <a:bodyPr vert="horz" wrap="square" lIns="0" tIns="0" rIns="0" bIns="0" rtlCol="0">
            <a:sp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Key characteristics</a:t>
            </a:r>
          </a:p>
        </p:txBody>
      </p:sp>
      <p:sp>
        <p:nvSpPr>
          <p:cNvPr id="10" name="Textfeld 9">
            <a:extLst>
              <a:ext uri="{FF2B5EF4-FFF2-40B4-BE49-F238E27FC236}">
                <a16:creationId xmlns:a16="http://schemas.microsoft.com/office/drawing/2014/main" id="{9D488780-ACEC-8FFF-C541-6C9124DDB561}"/>
              </a:ext>
            </a:extLst>
          </p:cNvPr>
          <p:cNvSpPr txBox="1">
            <a:spLocks/>
          </p:cNvSpPr>
          <p:nvPr/>
        </p:nvSpPr>
        <p:spPr>
          <a:xfrm>
            <a:off x="7311950" y="1397006"/>
            <a:ext cx="2506004" cy="215444"/>
          </a:xfrm>
          <a:prstGeom prst="rect">
            <a:avLst/>
          </a:prstGeom>
        </p:spPr>
        <p:txBody>
          <a:bodyPr vert="horz" lIns="0" tIns="0" rIns="0" bIns="0" rtlCol="0">
            <a:sp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Preferred use case</a:t>
            </a:r>
          </a:p>
        </p:txBody>
      </p:sp>
      <p:sp>
        <p:nvSpPr>
          <p:cNvPr id="119" name="Textfeld 296">
            <a:extLst>
              <a:ext uri="{FF2B5EF4-FFF2-40B4-BE49-F238E27FC236}">
                <a16:creationId xmlns:a16="http://schemas.microsoft.com/office/drawing/2014/main" id="{AE518D0F-B023-4B69-5AD1-452B79983D42}"/>
              </a:ext>
            </a:extLst>
          </p:cNvPr>
          <p:cNvSpPr txBox="1">
            <a:spLocks/>
          </p:cNvSpPr>
          <p:nvPr/>
        </p:nvSpPr>
        <p:spPr>
          <a:xfrm>
            <a:off x="7311949" y="4946170"/>
            <a:ext cx="2506004" cy="369332"/>
          </a:xfrm>
          <a:prstGeom prst="rect">
            <a:avLst/>
          </a:prstGeom>
          <a:noFill/>
        </p:spPr>
        <p:txBody>
          <a:bodyPr wrap="square" lIns="0" tIns="0" rIns="0" bIns="0" rtlCol="0" anchor="ctr">
            <a:spAutoFit/>
          </a:bodyPr>
          <a:lstStyle/>
          <a:p>
            <a:r>
              <a:rPr lang="en-US" sz="1200">
                <a:solidFill>
                  <a:srgbClr val="CCCCD4"/>
                </a:solidFill>
              </a:rPr>
              <a:t>Best for </a:t>
            </a:r>
            <a:r>
              <a:rPr lang="en-US" sz="1200" b="1">
                <a:solidFill>
                  <a:srgbClr val="CCCCD4"/>
                </a:solidFill>
              </a:rPr>
              <a:t>existing fleet</a:t>
            </a:r>
            <a:br>
              <a:rPr lang="en-US" sz="1200" b="1">
                <a:solidFill>
                  <a:srgbClr val="CCCCD4"/>
                </a:solidFill>
              </a:rPr>
            </a:br>
            <a:r>
              <a:rPr lang="en-US" sz="1200" b="1">
                <a:solidFill>
                  <a:srgbClr val="CCCCD4"/>
                </a:solidFill>
              </a:rPr>
              <a:t>decarbonization use case</a:t>
            </a:r>
          </a:p>
        </p:txBody>
      </p:sp>
      <p:sp>
        <p:nvSpPr>
          <p:cNvPr id="120" name="Textfeld 296">
            <a:extLst>
              <a:ext uri="{FF2B5EF4-FFF2-40B4-BE49-F238E27FC236}">
                <a16:creationId xmlns:a16="http://schemas.microsoft.com/office/drawing/2014/main" id="{F6F628AA-4265-000A-6063-88F216E1A3D0}"/>
              </a:ext>
            </a:extLst>
          </p:cNvPr>
          <p:cNvSpPr txBox="1">
            <a:spLocks/>
          </p:cNvSpPr>
          <p:nvPr/>
        </p:nvSpPr>
        <p:spPr>
          <a:xfrm>
            <a:off x="7311949" y="3588924"/>
            <a:ext cx="2506004" cy="369332"/>
          </a:xfrm>
          <a:prstGeom prst="rect">
            <a:avLst/>
          </a:prstGeom>
          <a:noFill/>
        </p:spPr>
        <p:txBody>
          <a:bodyPr wrap="square" lIns="0" tIns="0" rIns="0" bIns="0" rtlCol="0" anchor="ctr">
            <a:spAutoFit/>
          </a:bodyPr>
          <a:lstStyle/>
          <a:p>
            <a:r>
              <a:rPr lang="en-US" sz="1200">
                <a:solidFill>
                  <a:srgbClr val="CCCCD4"/>
                </a:solidFill>
              </a:rPr>
              <a:t>Best for decarbonized </a:t>
            </a:r>
            <a:br>
              <a:rPr lang="en-US" sz="1200">
                <a:solidFill>
                  <a:srgbClr val="CCCCD4"/>
                </a:solidFill>
              </a:rPr>
            </a:br>
            <a:r>
              <a:rPr lang="en-US" sz="1200" b="1">
                <a:solidFill>
                  <a:srgbClr val="CCCCD4"/>
                </a:solidFill>
              </a:rPr>
              <a:t>urban distribution use case</a:t>
            </a:r>
          </a:p>
        </p:txBody>
      </p:sp>
      <p:sp>
        <p:nvSpPr>
          <p:cNvPr id="123" name="Textfeld 296">
            <a:extLst>
              <a:ext uri="{FF2B5EF4-FFF2-40B4-BE49-F238E27FC236}">
                <a16:creationId xmlns:a16="http://schemas.microsoft.com/office/drawing/2014/main" id="{F2411DDD-8829-8C9D-AC04-27AAA0E87E9D}"/>
              </a:ext>
            </a:extLst>
          </p:cNvPr>
          <p:cNvSpPr txBox="1">
            <a:spLocks/>
          </p:cNvSpPr>
          <p:nvPr/>
        </p:nvSpPr>
        <p:spPr>
          <a:xfrm>
            <a:off x="7311950" y="2134580"/>
            <a:ext cx="2506004" cy="553998"/>
          </a:xfrm>
          <a:prstGeom prst="rect">
            <a:avLst/>
          </a:prstGeom>
          <a:noFill/>
        </p:spPr>
        <p:txBody>
          <a:bodyPr wrap="square" lIns="0" tIns="0" rIns="0" bIns="0" rtlCol="0" anchor="ctr">
            <a:spAutoFit/>
          </a:bodyPr>
          <a:lstStyle/>
          <a:p>
            <a:pPr defTabSz="913486"/>
            <a:r>
              <a:rPr lang="en-US" sz="1200">
                <a:solidFill>
                  <a:srgbClr val="CCCCD4"/>
                </a:solidFill>
              </a:rPr>
              <a:t>Best for </a:t>
            </a:r>
            <a:r>
              <a:rPr lang="en-US" sz="1200" b="1">
                <a:solidFill>
                  <a:srgbClr val="CCCCD4"/>
                </a:solidFill>
              </a:rPr>
              <a:t>long range </a:t>
            </a:r>
            <a:br>
              <a:rPr lang="en-US" sz="1200" b="1">
                <a:solidFill>
                  <a:srgbClr val="CCCCD4"/>
                </a:solidFill>
              </a:rPr>
            </a:br>
            <a:r>
              <a:rPr lang="en-US" sz="1200" b="1">
                <a:solidFill>
                  <a:srgbClr val="CCCCD4"/>
                </a:solidFill>
              </a:rPr>
              <a:t>use case in which </a:t>
            </a:r>
            <a:br>
              <a:rPr lang="en-US" sz="1200" b="1">
                <a:solidFill>
                  <a:srgbClr val="CCCCD4"/>
                </a:solidFill>
              </a:rPr>
            </a:br>
            <a:r>
              <a:rPr lang="en-US" sz="1200" b="1">
                <a:solidFill>
                  <a:srgbClr val="CCCCD4"/>
                </a:solidFill>
              </a:rPr>
              <a:t>electrification is not economical</a:t>
            </a:r>
          </a:p>
        </p:txBody>
      </p:sp>
      <p:sp>
        <p:nvSpPr>
          <p:cNvPr id="95" name="TextBox 315">
            <a:extLst>
              <a:ext uri="{FF2B5EF4-FFF2-40B4-BE49-F238E27FC236}">
                <a16:creationId xmlns:a16="http://schemas.microsoft.com/office/drawing/2014/main" id="{52FE2F84-0A33-47EB-412C-CD42843BEC39}"/>
              </a:ext>
            </a:extLst>
          </p:cNvPr>
          <p:cNvSpPr txBox="1">
            <a:spLocks/>
          </p:cNvSpPr>
          <p:nvPr/>
        </p:nvSpPr>
        <p:spPr>
          <a:xfrm>
            <a:off x="411163" y="6137281"/>
            <a:ext cx="8124757" cy="14048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b="1">
                <a:solidFill>
                  <a:schemeClr val="bg1"/>
                </a:solidFill>
              </a:rPr>
              <a:t>1 </a:t>
            </a:r>
            <a:r>
              <a:rPr lang="en-US" sz="900">
                <a:solidFill>
                  <a:schemeClr val="bg1"/>
                </a:solidFill>
              </a:rPr>
              <a:t>Assuming that a truck with hybrid-electric drive train is used </a:t>
            </a:r>
            <a:r>
              <a:rPr lang="en-US" sz="900">
                <a:solidFill>
                  <a:schemeClr val="bg1"/>
                </a:solidFill>
                <a:ea typeface="ＭＳ Ｐゴシック" charset="-128"/>
              </a:rPr>
              <a:t>|</a:t>
            </a:r>
            <a:r>
              <a:rPr lang="en-US" sz="900">
                <a:solidFill>
                  <a:schemeClr val="bg1"/>
                </a:solidFill>
              </a:rPr>
              <a:t> </a:t>
            </a:r>
            <a:r>
              <a:rPr lang="en-US" sz="900" b="1">
                <a:solidFill>
                  <a:schemeClr val="bg1"/>
                </a:solidFill>
              </a:rPr>
              <a:t>2</a:t>
            </a:r>
            <a:r>
              <a:rPr lang="en-US" sz="900">
                <a:solidFill>
                  <a:schemeClr val="bg1"/>
                </a:solidFill>
              </a:rPr>
              <a:t> Synthetic fuels require renewable energy for its production</a:t>
            </a:r>
          </a:p>
        </p:txBody>
      </p:sp>
      <p:sp>
        <p:nvSpPr>
          <p:cNvPr id="102" name="Textfeld 101">
            <a:extLst>
              <a:ext uri="{FF2B5EF4-FFF2-40B4-BE49-F238E27FC236}">
                <a16:creationId xmlns:a16="http://schemas.microsoft.com/office/drawing/2014/main" id="{6597E0E4-5044-4317-B097-5C087EA1B41C}"/>
              </a:ext>
            </a:extLst>
          </p:cNvPr>
          <p:cNvSpPr txBox="1">
            <a:spLocks/>
          </p:cNvSpPr>
          <p:nvPr/>
        </p:nvSpPr>
        <p:spPr>
          <a:xfrm>
            <a:off x="411163" y="2757914"/>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Hydrogen fuel cell power</a:t>
            </a:r>
          </a:p>
        </p:txBody>
      </p:sp>
      <p:sp>
        <p:nvSpPr>
          <p:cNvPr id="300" name="Textfeld 299">
            <a:extLst>
              <a:ext uri="{FF2B5EF4-FFF2-40B4-BE49-F238E27FC236}">
                <a16:creationId xmlns:a16="http://schemas.microsoft.com/office/drawing/2014/main" id="{02F7DD01-1F95-460B-B9E5-EB4B29A4D09B}"/>
              </a:ext>
            </a:extLst>
          </p:cNvPr>
          <p:cNvSpPr txBox="1">
            <a:spLocks/>
          </p:cNvSpPr>
          <p:nvPr/>
        </p:nvSpPr>
        <p:spPr>
          <a:xfrm>
            <a:off x="411163" y="4119925"/>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Battery electric power</a:t>
            </a:r>
          </a:p>
        </p:txBody>
      </p:sp>
      <p:sp>
        <p:nvSpPr>
          <p:cNvPr id="331" name="Textfeld 330">
            <a:extLst>
              <a:ext uri="{FF2B5EF4-FFF2-40B4-BE49-F238E27FC236}">
                <a16:creationId xmlns:a16="http://schemas.microsoft.com/office/drawing/2014/main" id="{3EC9674D-0A1D-4296-BC7F-527549FF6B19}"/>
              </a:ext>
            </a:extLst>
          </p:cNvPr>
          <p:cNvSpPr txBox="1">
            <a:spLocks/>
          </p:cNvSpPr>
          <p:nvPr/>
        </p:nvSpPr>
        <p:spPr>
          <a:xfrm>
            <a:off x="411163" y="5481935"/>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Hybrid with synthetic/bio-fuel</a:t>
            </a:r>
          </a:p>
        </p:txBody>
      </p:sp>
      <p:grpSp>
        <p:nvGrpSpPr>
          <p:cNvPr id="75" name="Gruppieren 74">
            <a:extLst>
              <a:ext uri="{FF2B5EF4-FFF2-40B4-BE49-F238E27FC236}">
                <a16:creationId xmlns:a16="http://schemas.microsoft.com/office/drawing/2014/main" id="{9173062E-2B56-4D88-A202-4B5B1BCE758F}"/>
              </a:ext>
            </a:extLst>
          </p:cNvPr>
          <p:cNvGrpSpPr>
            <a:grpSpLocks/>
          </p:cNvGrpSpPr>
          <p:nvPr/>
        </p:nvGrpSpPr>
        <p:grpSpPr>
          <a:xfrm>
            <a:off x="3848200" y="1959635"/>
            <a:ext cx="3247749" cy="903888"/>
            <a:chOff x="3848200" y="1911650"/>
            <a:chExt cx="3247749" cy="903888"/>
          </a:xfrm>
        </p:grpSpPr>
        <p:sp>
          <p:nvSpPr>
            <p:cNvPr id="169" name="Textfeld 293">
              <a:extLst>
                <a:ext uri="{FF2B5EF4-FFF2-40B4-BE49-F238E27FC236}">
                  <a16:creationId xmlns:a16="http://schemas.microsoft.com/office/drawing/2014/main" id="{F057FFBD-52FB-B408-6180-0D67AB452F9E}"/>
                </a:ext>
              </a:extLst>
            </p:cNvPr>
            <p:cNvSpPr txBox="1">
              <a:spLocks/>
            </p:cNvSpPr>
            <p:nvPr/>
          </p:nvSpPr>
          <p:spPr>
            <a:xfrm>
              <a:off x="4245971" y="2446206"/>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High operational cost </a:t>
              </a:r>
              <a:br>
                <a:rPr lang="en-US" sz="1200">
                  <a:solidFill>
                    <a:schemeClr val="bg1">
                      <a:lumMod val="85000"/>
                    </a:schemeClr>
                  </a:solidFill>
                </a:rPr>
              </a:br>
              <a:r>
                <a:rPr lang="en-US" sz="1200">
                  <a:solidFill>
                    <a:schemeClr val="bg1">
                      <a:lumMod val="85000"/>
                    </a:schemeClr>
                  </a:solidFill>
                </a:rPr>
                <a:t>(e.g., due to fuel price, efficiency) </a:t>
              </a:r>
            </a:p>
          </p:txBody>
        </p:sp>
        <p:grpSp>
          <p:nvGrpSpPr>
            <p:cNvPr id="70" name="Gruppieren 69">
              <a:extLst>
                <a:ext uri="{FF2B5EF4-FFF2-40B4-BE49-F238E27FC236}">
                  <a16:creationId xmlns:a16="http://schemas.microsoft.com/office/drawing/2014/main" id="{2D1055AD-EC8B-4586-8DE8-5F22E5A1D3DF}"/>
                </a:ext>
              </a:extLst>
            </p:cNvPr>
            <p:cNvGrpSpPr>
              <a:grpSpLocks/>
            </p:cNvGrpSpPr>
            <p:nvPr/>
          </p:nvGrpSpPr>
          <p:grpSpPr>
            <a:xfrm>
              <a:off x="3848200" y="1971035"/>
              <a:ext cx="250758" cy="250563"/>
              <a:chOff x="4306777" y="2049666"/>
              <a:chExt cx="250758" cy="250563"/>
            </a:xfrm>
          </p:grpSpPr>
          <p:sp>
            <p:nvSpPr>
              <p:cNvPr id="171" name="Rectangle 873">
                <a:extLst>
                  <a:ext uri="{FF2B5EF4-FFF2-40B4-BE49-F238E27FC236}">
                    <a16:creationId xmlns:a16="http://schemas.microsoft.com/office/drawing/2014/main" id="{061F3A43-3433-B038-A1D6-8147677A79A2}"/>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172" name="Freeform 874">
                <a:extLst>
                  <a:ext uri="{FF2B5EF4-FFF2-40B4-BE49-F238E27FC236}">
                    <a16:creationId xmlns:a16="http://schemas.microsoft.com/office/drawing/2014/main" id="{6B595874-CDDB-8AFA-FE69-E5D169B37151}"/>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sp>
          <p:nvSpPr>
            <p:cNvPr id="173" name="Textfeld 291">
              <a:extLst>
                <a:ext uri="{FF2B5EF4-FFF2-40B4-BE49-F238E27FC236}">
                  <a16:creationId xmlns:a16="http://schemas.microsoft.com/office/drawing/2014/main" id="{E94C0E30-95F6-15C3-131D-77602B8BBD82}"/>
                </a:ext>
              </a:extLst>
            </p:cNvPr>
            <p:cNvSpPr txBox="1">
              <a:spLocks/>
            </p:cNvSpPr>
            <p:nvPr/>
          </p:nvSpPr>
          <p:spPr>
            <a:xfrm>
              <a:off x="4245971" y="1911650"/>
              <a:ext cx="2849978" cy="369332"/>
            </a:xfrm>
            <a:prstGeom prst="rect">
              <a:avLst/>
            </a:prstGeom>
            <a:noFill/>
          </p:spPr>
          <p:txBody>
            <a:bodyPr wrap="square" lIns="0" tIns="0" rIns="0" bIns="0" rtlCol="0" anchor="ctr">
              <a:noAutofit/>
            </a:bodyPr>
            <a:lstStyle/>
            <a:p>
              <a:r>
                <a:rPr lang="en-US" sz="1200">
                  <a:solidFill>
                    <a:schemeClr val="bg1">
                      <a:lumMod val="85000"/>
                    </a:schemeClr>
                  </a:solidFill>
                </a:rPr>
                <a:t>High range to mass ratio</a:t>
              </a:r>
            </a:p>
          </p:txBody>
        </p:sp>
        <p:grpSp>
          <p:nvGrpSpPr>
            <p:cNvPr id="69" name="Gruppieren 68">
              <a:extLst>
                <a:ext uri="{FF2B5EF4-FFF2-40B4-BE49-F238E27FC236}">
                  <a16:creationId xmlns:a16="http://schemas.microsoft.com/office/drawing/2014/main" id="{64B1FAD4-151C-4304-8730-BC9568CE31B1}"/>
                </a:ext>
              </a:extLst>
            </p:cNvPr>
            <p:cNvGrpSpPr>
              <a:grpSpLocks/>
            </p:cNvGrpSpPr>
            <p:nvPr/>
          </p:nvGrpSpPr>
          <p:grpSpPr>
            <a:xfrm>
              <a:off x="3848200" y="2505590"/>
              <a:ext cx="250094" cy="250563"/>
              <a:chOff x="4306777" y="2541118"/>
              <a:chExt cx="250094" cy="250563"/>
            </a:xfrm>
          </p:grpSpPr>
          <p:sp>
            <p:nvSpPr>
              <p:cNvPr id="167" name="Rectangle 876">
                <a:extLst>
                  <a:ext uri="{FF2B5EF4-FFF2-40B4-BE49-F238E27FC236}">
                    <a16:creationId xmlns:a16="http://schemas.microsoft.com/office/drawing/2014/main" id="{3DC082DC-F382-52B9-798E-31DCC70F2338}"/>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389" name="Freihandform: Form 388">
                <a:extLst>
                  <a:ext uri="{FF2B5EF4-FFF2-40B4-BE49-F238E27FC236}">
                    <a16:creationId xmlns:a16="http://schemas.microsoft.com/office/drawing/2014/main" id="{0DEAA5E8-8BCA-425B-8FC1-E7E83B5098AA}"/>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grpSp>
        <p:nvGrpSpPr>
          <p:cNvPr id="79" name="Gruppieren 78">
            <a:extLst>
              <a:ext uri="{FF2B5EF4-FFF2-40B4-BE49-F238E27FC236}">
                <a16:creationId xmlns:a16="http://schemas.microsoft.com/office/drawing/2014/main" id="{0EE7BE4E-000F-47E6-8EE5-B305805CEB55}"/>
              </a:ext>
            </a:extLst>
          </p:cNvPr>
          <p:cNvGrpSpPr>
            <a:grpSpLocks/>
          </p:cNvGrpSpPr>
          <p:nvPr/>
        </p:nvGrpSpPr>
        <p:grpSpPr>
          <a:xfrm>
            <a:off x="3848200" y="3332258"/>
            <a:ext cx="3247749" cy="882664"/>
            <a:chOff x="3848200" y="3436880"/>
            <a:chExt cx="3247749" cy="882664"/>
          </a:xfrm>
        </p:grpSpPr>
        <p:grpSp>
          <p:nvGrpSpPr>
            <p:cNvPr id="72" name="Gruppieren 71">
              <a:extLst>
                <a:ext uri="{FF2B5EF4-FFF2-40B4-BE49-F238E27FC236}">
                  <a16:creationId xmlns:a16="http://schemas.microsoft.com/office/drawing/2014/main" id="{4C866B6D-0174-4603-829C-102BDCFDE1CF}"/>
                </a:ext>
              </a:extLst>
            </p:cNvPr>
            <p:cNvGrpSpPr/>
            <p:nvPr/>
          </p:nvGrpSpPr>
          <p:grpSpPr>
            <a:xfrm>
              <a:off x="4245971" y="3436880"/>
              <a:ext cx="2849978" cy="882664"/>
              <a:chOff x="4245971" y="3436880"/>
              <a:chExt cx="2849978" cy="882664"/>
            </a:xfrm>
          </p:grpSpPr>
          <p:sp>
            <p:nvSpPr>
              <p:cNvPr id="182" name="Textfeld 293">
                <a:extLst>
                  <a:ext uri="{FF2B5EF4-FFF2-40B4-BE49-F238E27FC236}">
                    <a16:creationId xmlns:a16="http://schemas.microsoft.com/office/drawing/2014/main" id="{A071DC05-A2BC-7DC9-4FA2-8EA50B5D78D3}"/>
                  </a:ext>
                </a:extLst>
              </p:cNvPr>
              <p:cNvSpPr txBox="1">
                <a:spLocks/>
              </p:cNvSpPr>
              <p:nvPr/>
            </p:nvSpPr>
            <p:spPr>
              <a:xfrm>
                <a:off x="4245971" y="3950212"/>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Limited range</a:t>
                </a:r>
              </a:p>
            </p:txBody>
          </p:sp>
          <p:sp>
            <p:nvSpPr>
              <p:cNvPr id="189" name="Textfeld 297">
                <a:extLst>
                  <a:ext uri="{FF2B5EF4-FFF2-40B4-BE49-F238E27FC236}">
                    <a16:creationId xmlns:a16="http://schemas.microsoft.com/office/drawing/2014/main" id="{10983BDF-F482-3978-22BB-3538409DD2A2}"/>
                  </a:ext>
                </a:extLst>
              </p:cNvPr>
              <p:cNvSpPr txBox="1">
                <a:spLocks/>
              </p:cNvSpPr>
              <p:nvPr/>
            </p:nvSpPr>
            <p:spPr>
              <a:xfrm>
                <a:off x="4245971" y="3436880"/>
                <a:ext cx="2849978" cy="369332"/>
              </a:xfrm>
              <a:prstGeom prst="rect">
                <a:avLst/>
              </a:prstGeom>
              <a:noFill/>
            </p:spPr>
            <p:txBody>
              <a:bodyPr wrap="square" lIns="0" tIns="0" rIns="0" bIns="0" rtlCol="0" anchor="ctr">
                <a:noAutofit/>
              </a:bodyPr>
              <a:lstStyle/>
              <a:p>
                <a:pPr defTabSz="913486"/>
                <a:r>
                  <a:rPr lang="en-US" sz="1200">
                    <a:solidFill>
                      <a:schemeClr val="bg1">
                        <a:lumMod val="85000"/>
                      </a:schemeClr>
                    </a:solidFill>
                  </a:rPr>
                  <a:t>Technology eco-system proven </a:t>
                </a:r>
                <a:br>
                  <a:rPr lang="en-US" sz="1200">
                    <a:solidFill>
                      <a:schemeClr val="bg1">
                        <a:lumMod val="85000"/>
                      </a:schemeClr>
                    </a:solidFill>
                  </a:rPr>
                </a:br>
                <a:r>
                  <a:rPr lang="en-US" sz="1200">
                    <a:solidFill>
                      <a:schemeClr val="bg1">
                        <a:lumMod val="85000"/>
                      </a:schemeClr>
                    </a:solidFill>
                  </a:rPr>
                  <a:t>with light duty vehicles</a:t>
                </a:r>
              </a:p>
            </p:txBody>
          </p:sp>
        </p:grpSp>
        <p:grpSp>
          <p:nvGrpSpPr>
            <p:cNvPr id="71" name="Gruppieren 70">
              <a:extLst>
                <a:ext uri="{FF2B5EF4-FFF2-40B4-BE49-F238E27FC236}">
                  <a16:creationId xmlns:a16="http://schemas.microsoft.com/office/drawing/2014/main" id="{E081A120-354E-489C-930B-F8D884D3E2CD}"/>
                </a:ext>
              </a:extLst>
            </p:cNvPr>
            <p:cNvGrpSpPr/>
            <p:nvPr/>
          </p:nvGrpSpPr>
          <p:grpSpPr>
            <a:xfrm>
              <a:off x="3848200" y="3478406"/>
              <a:ext cx="250758" cy="785118"/>
              <a:chOff x="3848200" y="3478406"/>
              <a:chExt cx="250758" cy="785118"/>
            </a:xfrm>
          </p:grpSpPr>
          <p:grpSp>
            <p:nvGrpSpPr>
              <p:cNvPr id="390" name="Gruppieren 389">
                <a:extLst>
                  <a:ext uri="{FF2B5EF4-FFF2-40B4-BE49-F238E27FC236}">
                    <a16:creationId xmlns:a16="http://schemas.microsoft.com/office/drawing/2014/main" id="{2DAC98C8-1FF6-4495-948E-0BC86D1D45E6}"/>
                  </a:ext>
                </a:extLst>
              </p:cNvPr>
              <p:cNvGrpSpPr>
                <a:grpSpLocks/>
              </p:cNvGrpSpPr>
              <p:nvPr/>
            </p:nvGrpSpPr>
            <p:grpSpPr>
              <a:xfrm>
                <a:off x="3848200" y="3478406"/>
                <a:ext cx="250758" cy="250563"/>
                <a:chOff x="4306777" y="2049666"/>
                <a:chExt cx="250758" cy="250563"/>
              </a:xfrm>
            </p:grpSpPr>
            <p:sp>
              <p:nvSpPr>
                <p:cNvPr id="391" name="Rectangle 873">
                  <a:extLst>
                    <a:ext uri="{FF2B5EF4-FFF2-40B4-BE49-F238E27FC236}">
                      <a16:creationId xmlns:a16="http://schemas.microsoft.com/office/drawing/2014/main" id="{9BAFEDA6-10E8-42A6-9CB4-BD92D40E6E2B}"/>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392" name="Freeform 874">
                  <a:extLst>
                    <a:ext uri="{FF2B5EF4-FFF2-40B4-BE49-F238E27FC236}">
                      <a16:creationId xmlns:a16="http://schemas.microsoft.com/office/drawing/2014/main" id="{0E6B61C2-191B-4F0D-B903-EA8F47091E38}"/>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grpSp>
            <p:nvGrpSpPr>
              <p:cNvPr id="393" name="Gruppieren 392">
                <a:extLst>
                  <a:ext uri="{FF2B5EF4-FFF2-40B4-BE49-F238E27FC236}">
                    <a16:creationId xmlns:a16="http://schemas.microsoft.com/office/drawing/2014/main" id="{93CC5B7C-7CC1-4978-B5F1-94FDB96AC15F}"/>
                  </a:ext>
                </a:extLst>
              </p:cNvPr>
              <p:cNvGrpSpPr>
                <a:grpSpLocks/>
              </p:cNvGrpSpPr>
              <p:nvPr/>
            </p:nvGrpSpPr>
            <p:grpSpPr>
              <a:xfrm>
                <a:off x="3848200" y="4012961"/>
                <a:ext cx="250094" cy="250563"/>
                <a:chOff x="4306777" y="2541118"/>
                <a:chExt cx="250094" cy="250563"/>
              </a:xfrm>
            </p:grpSpPr>
            <p:sp>
              <p:nvSpPr>
                <p:cNvPr id="394" name="Rectangle 876">
                  <a:extLst>
                    <a:ext uri="{FF2B5EF4-FFF2-40B4-BE49-F238E27FC236}">
                      <a16:creationId xmlns:a16="http://schemas.microsoft.com/office/drawing/2014/main" id="{1D2EAD84-AE12-4AD1-8250-E210798A7CE6}"/>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395" name="Freihandform: Form 394">
                  <a:extLst>
                    <a:ext uri="{FF2B5EF4-FFF2-40B4-BE49-F238E27FC236}">
                      <a16:creationId xmlns:a16="http://schemas.microsoft.com/office/drawing/2014/main" id="{16D6D4B2-4C1E-4438-8DFF-3BA93EA2CC9D}"/>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grpSp>
      <p:grpSp>
        <p:nvGrpSpPr>
          <p:cNvPr id="78" name="Gruppieren 77">
            <a:extLst>
              <a:ext uri="{FF2B5EF4-FFF2-40B4-BE49-F238E27FC236}">
                <a16:creationId xmlns:a16="http://schemas.microsoft.com/office/drawing/2014/main" id="{D37512C9-EF8A-444E-B60A-62D9D64D7290}"/>
              </a:ext>
            </a:extLst>
          </p:cNvPr>
          <p:cNvGrpSpPr>
            <a:grpSpLocks/>
          </p:cNvGrpSpPr>
          <p:nvPr/>
        </p:nvGrpSpPr>
        <p:grpSpPr>
          <a:xfrm>
            <a:off x="3848200" y="4689504"/>
            <a:ext cx="3247749" cy="882664"/>
            <a:chOff x="3848200" y="4792171"/>
            <a:chExt cx="3247749" cy="882664"/>
          </a:xfrm>
        </p:grpSpPr>
        <p:sp>
          <p:nvSpPr>
            <p:cNvPr id="174" name="Textfeld 293">
              <a:extLst>
                <a:ext uri="{FF2B5EF4-FFF2-40B4-BE49-F238E27FC236}">
                  <a16:creationId xmlns:a16="http://schemas.microsoft.com/office/drawing/2014/main" id="{BD0427C2-22D5-FD70-5B0B-A810100A0D12}"/>
                </a:ext>
              </a:extLst>
            </p:cNvPr>
            <p:cNvSpPr txBox="1">
              <a:spLocks/>
            </p:cNvSpPr>
            <p:nvPr/>
          </p:nvSpPr>
          <p:spPr>
            <a:xfrm>
              <a:off x="4245971" y="5305503"/>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Limited availability of fuels</a:t>
              </a:r>
            </a:p>
          </p:txBody>
        </p:sp>
        <p:sp>
          <p:nvSpPr>
            <p:cNvPr id="181" name="Textfeld 294">
              <a:extLst>
                <a:ext uri="{FF2B5EF4-FFF2-40B4-BE49-F238E27FC236}">
                  <a16:creationId xmlns:a16="http://schemas.microsoft.com/office/drawing/2014/main" id="{E4732692-DE62-D9FA-8F95-1C8BC4BF6FE7}"/>
                </a:ext>
              </a:extLst>
            </p:cNvPr>
            <p:cNvSpPr txBox="1">
              <a:spLocks/>
            </p:cNvSpPr>
            <p:nvPr/>
          </p:nvSpPr>
          <p:spPr>
            <a:xfrm>
              <a:off x="4245971" y="4792171"/>
              <a:ext cx="2849978" cy="369332"/>
            </a:xfrm>
            <a:prstGeom prst="rect">
              <a:avLst/>
            </a:prstGeom>
            <a:noFill/>
          </p:spPr>
          <p:txBody>
            <a:bodyPr wrap="square" lIns="0" tIns="0" rIns="0" bIns="0" rtlCol="0" anchor="ctr">
              <a:noAutofit/>
            </a:bodyPr>
            <a:lstStyle/>
            <a:p>
              <a:r>
                <a:rPr lang="en-US" sz="1200">
                  <a:solidFill>
                    <a:schemeClr val="bg1">
                      <a:lumMod val="85000"/>
                    </a:schemeClr>
                  </a:solidFill>
                </a:rPr>
                <a:t>Available infrastructure, suitable </a:t>
              </a:r>
              <a:br>
                <a:rPr lang="en-US" sz="1200">
                  <a:solidFill>
                    <a:schemeClr val="bg1">
                      <a:lumMod val="85000"/>
                    </a:schemeClr>
                  </a:solidFill>
                </a:rPr>
              </a:br>
              <a:r>
                <a:rPr lang="en-US" sz="1200">
                  <a:solidFill>
                    <a:schemeClr val="bg1">
                      <a:lumMod val="85000"/>
                    </a:schemeClr>
                  </a:solidFill>
                </a:rPr>
                <a:t>to decarbonize existing fleet </a:t>
              </a:r>
              <a:r>
                <a:rPr lang="en-US" sz="1200" baseline="30000">
                  <a:solidFill>
                    <a:schemeClr val="bg1">
                      <a:lumMod val="85000"/>
                    </a:schemeClr>
                  </a:solidFill>
                </a:rPr>
                <a:t>1,2</a:t>
              </a:r>
            </a:p>
          </p:txBody>
        </p:sp>
        <p:grpSp>
          <p:nvGrpSpPr>
            <p:cNvPr id="397" name="Gruppieren 396">
              <a:extLst>
                <a:ext uri="{FF2B5EF4-FFF2-40B4-BE49-F238E27FC236}">
                  <a16:creationId xmlns:a16="http://schemas.microsoft.com/office/drawing/2014/main" id="{C00E9DD2-F20F-4515-A63A-02A8418921D4}"/>
                </a:ext>
              </a:extLst>
            </p:cNvPr>
            <p:cNvGrpSpPr>
              <a:grpSpLocks/>
            </p:cNvGrpSpPr>
            <p:nvPr/>
          </p:nvGrpSpPr>
          <p:grpSpPr>
            <a:xfrm>
              <a:off x="3848200" y="4851555"/>
              <a:ext cx="250758" cy="250563"/>
              <a:chOff x="4306777" y="2049666"/>
              <a:chExt cx="250758" cy="250563"/>
            </a:xfrm>
          </p:grpSpPr>
          <p:sp>
            <p:nvSpPr>
              <p:cNvPr id="401" name="Rectangle 873">
                <a:extLst>
                  <a:ext uri="{FF2B5EF4-FFF2-40B4-BE49-F238E27FC236}">
                    <a16:creationId xmlns:a16="http://schemas.microsoft.com/office/drawing/2014/main" id="{3A90F93E-69AF-47C6-A6B7-AA3429A90E53}"/>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402" name="Freeform 874">
                <a:extLst>
                  <a:ext uri="{FF2B5EF4-FFF2-40B4-BE49-F238E27FC236}">
                    <a16:creationId xmlns:a16="http://schemas.microsoft.com/office/drawing/2014/main" id="{A23BA137-54B0-44E5-8B59-5CE17DAEFD6D}"/>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grpSp>
          <p:nvGrpSpPr>
            <p:cNvPr id="398" name="Gruppieren 397">
              <a:extLst>
                <a:ext uri="{FF2B5EF4-FFF2-40B4-BE49-F238E27FC236}">
                  <a16:creationId xmlns:a16="http://schemas.microsoft.com/office/drawing/2014/main" id="{30139416-90B6-4790-BE10-DF3657645A81}"/>
                </a:ext>
              </a:extLst>
            </p:cNvPr>
            <p:cNvGrpSpPr>
              <a:grpSpLocks/>
            </p:cNvGrpSpPr>
            <p:nvPr/>
          </p:nvGrpSpPr>
          <p:grpSpPr>
            <a:xfrm>
              <a:off x="3848200" y="5364887"/>
              <a:ext cx="250094" cy="250563"/>
              <a:chOff x="4306777" y="2541118"/>
              <a:chExt cx="250094" cy="250563"/>
            </a:xfrm>
          </p:grpSpPr>
          <p:sp>
            <p:nvSpPr>
              <p:cNvPr id="399" name="Rectangle 876">
                <a:extLst>
                  <a:ext uri="{FF2B5EF4-FFF2-40B4-BE49-F238E27FC236}">
                    <a16:creationId xmlns:a16="http://schemas.microsoft.com/office/drawing/2014/main" id="{F5CB60B3-7E02-454C-876D-C87A93ECFF8D}"/>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400" name="Freihandform: Form 399">
                <a:extLst>
                  <a:ext uri="{FF2B5EF4-FFF2-40B4-BE49-F238E27FC236}">
                    <a16:creationId xmlns:a16="http://schemas.microsoft.com/office/drawing/2014/main" id="{8670F3D0-8BE7-424A-9A55-FF16971B24D4}"/>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sp>
        <p:nvSpPr>
          <p:cNvPr id="259" name="Oval 32">
            <a:extLst>
              <a:ext uri="{FF2B5EF4-FFF2-40B4-BE49-F238E27FC236}">
                <a16:creationId xmlns:a16="http://schemas.microsoft.com/office/drawing/2014/main" id="{5D38B135-CCE3-46BD-883D-89DD7513B790}"/>
              </a:ext>
            </a:extLst>
          </p:cNvPr>
          <p:cNvSpPr>
            <a:spLocks/>
          </p:cNvSpPr>
          <p:nvPr/>
        </p:nvSpPr>
        <p:spPr bwMode="auto">
          <a:xfrm>
            <a:off x="1066700" y="2086807"/>
            <a:ext cx="241712" cy="241711"/>
          </a:xfrm>
          <a:prstGeom prst="ellipse">
            <a:avLst/>
          </a:prstGeom>
          <a:solidFill>
            <a:schemeClr val="accent3"/>
          </a:solidFill>
          <a:ln w="9525" cap="flat" cmpd="sng" algn="ctr">
            <a:noFill/>
            <a:prstDash val="solid"/>
            <a:miter lim="800000"/>
            <a:headEnd type="none" w="med" len="med"/>
            <a:tailEnd type="none" w="med" len="med"/>
          </a:ln>
          <a:effectLst/>
        </p:spPr>
        <p:txBody>
          <a:bodyPr wrap="square" lIns="0" tIns="0" rIns="0" bIns="0" numCol="1" spcCol="72000" rtlCol="0" anchor="ctr">
            <a:noAutofit/>
          </a:bodyPr>
          <a:lstStyle/>
          <a:p>
            <a:pPr algn="ctr" defTabSz="913486"/>
            <a:r>
              <a:rPr lang="en-US" sz="900" b="1">
                <a:solidFill>
                  <a:schemeClr val="bg1"/>
                </a:solidFill>
              </a:rPr>
              <a:t>H</a:t>
            </a:r>
            <a:r>
              <a:rPr lang="en-US" sz="900" b="1" baseline="-25000">
                <a:solidFill>
                  <a:schemeClr val="bg1"/>
                </a:solidFill>
              </a:rPr>
              <a:t>2</a:t>
            </a:r>
          </a:p>
        </p:txBody>
      </p:sp>
      <p:grpSp>
        <p:nvGrpSpPr>
          <p:cNvPr id="260" name="Gruppieren 259">
            <a:extLst>
              <a:ext uri="{FF2B5EF4-FFF2-40B4-BE49-F238E27FC236}">
                <a16:creationId xmlns:a16="http://schemas.microsoft.com/office/drawing/2014/main" id="{1A900A12-E2CD-4C38-9898-BA1A60BADC7E}"/>
              </a:ext>
            </a:extLst>
          </p:cNvPr>
          <p:cNvGrpSpPr>
            <a:grpSpLocks/>
          </p:cNvGrpSpPr>
          <p:nvPr/>
        </p:nvGrpSpPr>
        <p:grpSpPr>
          <a:xfrm>
            <a:off x="1066700" y="3410302"/>
            <a:ext cx="241712" cy="241711"/>
            <a:chOff x="-580944" y="3621546"/>
            <a:chExt cx="318041" cy="318040"/>
          </a:xfrm>
        </p:grpSpPr>
        <p:sp>
          <p:nvSpPr>
            <p:cNvPr id="261" name="Oval 32">
              <a:extLst>
                <a:ext uri="{FF2B5EF4-FFF2-40B4-BE49-F238E27FC236}">
                  <a16:creationId xmlns:a16="http://schemas.microsoft.com/office/drawing/2014/main" id="{D8AE8285-7B2C-4952-B487-7BE0BAFE855F}"/>
                </a:ext>
              </a:extLst>
            </p:cNvPr>
            <p:cNvSpPr>
              <a:spLocks/>
            </p:cNvSpPr>
            <p:nvPr/>
          </p:nvSpPr>
          <p:spPr bwMode="auto">
            <a:xfrm>
              <a:off x="-580944" y="3621546"/>
              <a:ext cx="318041" cy="318040"/>
            </a:xfrm>
            <a:prstGeom prst="ellipse">
              <a:avLst/>
            </a:prstGeom>
            <a:solidFill>
              <a:srgbClr val="FFD73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a:solidFill>
                  <a:schemeClr val="bg1"/>
                </a:solidFill>
                <a:ea typeface="Arial Unicode MS" panose="020B0604020202020204" pitchFamily="34" charset="-128"/>
                <a:cs typeface="Arial" panose="020B0604020202020204" pitchFamily="34" charset="0"/>
              </a:endParaRPr>
            </a:p>
          </p:txBody>
        </p:sp>
        <p:sp>
          <p:nvSpPr>
            <p:cNvPr id="262" name="Freihandform: Form 261">
              <a:extLst>
                <a:ext uri="{FF2B5EF4-FFF2-40B4-BE49-F238E27FC236}">
                  <a16:creationId xmlns:a16="http://schemas.microsoft.com/office/drawing/2014/main" id="{66769BB5-DAAC-48CD-BAE9-AAF037AE1FA3}"/>
                </a:ext>
              </a:extLst>
            </p:cNvPr>
            <p:cNvSpPr>
              <a:spLocks/>
            </p:cNvSpPr>
            <p:nvPr/>
          </p:nvSpPr>
          <p:spPr>
            <a:xfrm>
              <a:off x="-478568" y="3694471"/>
              <a:ext cx="113290" cy="172190"/>
            </a:xfrm>
            <a:custGeom>
              <a:avLst/>
              <a:gdLst>
                <a:gd name="connsiteX0" fmla="*/ 0 w 762343"/>
                <a:gd name="connsiteY0" fmla="*/ 609810 h 1158681"/>
                <a:gd name="connsiteX1" fmla="*/ 274463 w 762343"/>
                <a:gd name="connsiteY1" fmla="*/ 0 h 1158681"/>
                <a:gd name="connsiteX2" fmla="*/ 704417 w 762343"/>
                <a:gd name="connsiteY2" fmla="*/ 323 h 1158681"/>
                <a:gd name="connsiteX3" fmla="*/ 487880 w 762343"/>
                <a:gd name="connsiteY3" fmla="*/ 457384 h 1158681"/>
                <a:gd name="connsiteX4" fmla="*/ 762343 w 762343"/>
                <a:gd name="connsiteY4" fmla="*/ 457384 h 1158681"/>
                <a:gd name="connsiteX5" fmla="*/ 121984 w 762343"/>
                <a:gd name="connsiteY5" fmla="*/ 1158682 h 1158681"/>
                <a:gd name="connsiteX6" fmla="*/ 335455 w 762343"/>
                <a:gd name="connsiteY6" fmla="*/ 609810 h 11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43" h="1158681">
                  <a:moveTo>
                    <a:pt x="0" y="609810"/>
                  </a:moveTo>
                  <a:lnTo>
                    <a:pt x="274463" y="0"/>
                  </a:lnTo>
                  <a:lnTo>
                    <a:pt x="704417" y="323"/>
                  </a:lnTo>
                  <a:lnTo>
                    <a:pt x="487880" y="457384"/>
                  </a:lnTo>
                  <a:lnTo>
                    <a:pt x="762343" y="457384"/>
                  </a:lnTo>
                  <a:lnTo>
                    <a:pt x="121984" y="1158682"/>
                  </a:lnTo>
                  <a:lnTo>
                    <a:pt x="335455" y="609810"/>
                  </a:lnTo>
                  <a:close/>
                </a:path>
              </a:pathLst>
            </a:custGeom>
            <a:solidFill>
              <a:schemeClr val="bg1"/>
            </a:solidFill>
            <a:ln w="5376" cap="flat">
              <a:noFill/>
              <a:prstDash val="solid"/>
              <a:miter/>
            </a:ln>
          </p:spPr>
          <p:txBody>
            <a:bodyPr rtlCol="0" anchor="ctr"/>
            <a:lstStyle/>
            <a:p>
              <a:endParaRPr lang="en-US"/>
            </a:p>
          </p:txBody>
        </p:sp>
      </p:grpSp>
      <p:grpSp>
        <p:nvGrpSpPr>
          <p:cNvPr id="263" name="Gruppieren 262">
            <a:extLst>
              <a:ext uri="{FF2B5EF4-FFF2-40B4-BE49-F238E27FC236}">
                <a16:creationId xmlns:a16="http://schemas.microsoft.com/office/drawing/2014/main" id="{D58A8126-978C-4D15-9368-88E24D7867EB}"/>
              </a:ext>
            </a:extLst>
          </p:cNvPr>
          <p:cNvGrpSpPr>
            <a:grpSpLocks/>
          </p:cNvGrpSpPr>
          <p:nvPr/>
        </p:nvGrpSpPr>
        <p:grpSpPr>
          <a:xfrm>
            <a:off x="972393" y="4772312"/>
            <a:ext cx="430326" cy="241711"/>
            <a:chOff x="628794" y="4772312"/>
            <a:chExt cx="430326" cy="241711"/>
          </a:xfrm>
        </p:grpSpPr>
        <p:grpSp>
          <p:nvGrpSpPr>
            <p:cNvPr id="264" name="Gruppieren 263">
              <a:extLst>
                <a:ext uri="{FF2B5EF4-FFF2-40B4-BE49-F238E27FC236}">
                  <a16:creationId xmlns:a16="http://schemas.microsoft.com/office/drawing/2014/main" id="{358668BB-4C6B-4A3A-AC37-D20F1108869B}"/>
                </a:ext>
              </a:extLst>
            </p:cNvPr>
            <p:cNvGrpSpPr>
              <a:grpSpLocks/>
            </p:cNvGrpSpPr>
            <p:nvPr/>
          </p:nvGrpSpPr>
          <p:grpSpPr>
            <a:xfrm>
              <a:off x="817408" y="4772312"/>
              <a:ext cx="241712" cy="241711"/>
              <a:chOff x="-188753" y="4759071"/>
              <a:chExt cx="318041" cy="318040"/>
            </a:xfrm>
          </p:grpSpPr>
          <p:sp>
            <p:nvSpPr>
              <p:cNvPr id="268" name="Oval 32">
                <a:extLst>
                  <a:ext uri="{FF2B5EF4-FFF2-40B4-BE49-F238E27FC236}">
                    <a16:creationId xmlns:a16="http://schemas.microsoft.com/office/drawing/2014/main" id="{688C48BA-25DB-40D7-8B7E-540D9F8E7225}"/>
                  </a:ext>
                </a:extLst>
              </p:cNvPr>
              <p:cNvSpPr/>
              <p:nvPr/>
            </p:nvSpPr>
            <p:spPr bwMode="auto">
              <a:xfrm>
                <a:off x="-188753" y="4759071"/>
                <a:ext cx="318041" cy="318040"/>
              </a:xfrm>
              <a:prstGeom prst="ellipse">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u="sng">
                  <a:solidFill>
                    <a:schemeClr val="bg1"/>
                  </a:solidFill>
                  <a:ea typeface="Arial Unicode MS" panose="020B0604020202020204" pitchFamily="34" charset="-128"/>
                  <a:cs typeface="Arial" panose="020B0604020202020204" pitchFamily="34" charset="0"/>
                </a:endParaRPr>
              </a:p>
            </p:txBody>
          </p:sp>
          <p:sp>
            <p:nvSpPr>
              <p:cNvPr id="269" name="Freeform 549">
                <a:extLst>
                  <a:ext uri="{FF2B5EF4-FFF2-40B4-BE49-F238E27FC236}">
                    <a16:creationId xmlns:a16="http://schemas.microsoft.com/office/drawing/2014/main" id="{377A913D-1317-4C3E-8C21-1F021E3F0F94}"/>
                  </a:ext>
                </a:extLst>
              </p:cNvPr>
              <p:cNvSpPr>
                <a:spLocks noChangeAspect="1" noEditPoints="1"/>
              </p:cNvSpPr>
              <p:nvPr/>
            </p:nvSpPr>
            <p:spPr bwMode="auto">
              <a:xfrm>
                <a:off x="-83980" y="4824763"/>
                <a:ext cx="146861" cy="186655"/>
              </a:xfrm>
              <a:custGeom>
                <a:avLst/>
                <a:gdLst/>
                <a:ahLst/>
                <a:cxnLst>
                  <a:cxn ang="0">
                    <a:pos x="10" y="51"/>
                  </a:cxn>
                  <a:cxn ang="0">
                    <a:pos x="10" y="15"/>
                  </a:cxn>
                  <a:cxn ang="0">
                    <a:pos x="74" y="15"/>
                  </a:cxn>
                  <a:cxn ang="0">
                    <a:pos x="74" y="51"/>
                  </a:cxn>
                  <a:cxn ang="0">
                    <a:pos x="10" y="51"/>
                  </a:cxn>
                  <a:cxn ang="0">
                    <a:pos x="78" y="0"/>
                  </a:cxn>
                  <a:cxn ang="0">
                    <a:pos x="6" y="0"/>
                  </a:cxn>
                  <a:cxn ang="0">
                    <a:pos x="0" y="6"/>
                  </a:cxn>
                  <a:cxn ang="0">
                    <a:pos x="0" y="6"/>
                  </a:cxn>
                  <a:cxn ang="0">
                    <a:pos x="0" y="166"/>
                  </a:cxn>
                  <a:cxn ang="0">
                    <a:pos x="85" y="166"/>
                  </a:cxn>
                  <a:cxn ang="0">
                    <a:pos x="85" y="65"/>
                  </a:cxn>
                  <a:cxn ang="0">
                    <a:pos x="86" y="65"/>
                  </a:cxn>
                  <a:cxn ang="0">
                    <a:pos x="93" y="71"/>
                  </a:cxn>
                  <a:cxn ang="0">
                    <a:pos x="94" y="87"/>
                  </a:cxn>
                  <a:cxn ang="0">
                    <a:pos x="95" y="124"/>
                  </a:cxn>
                  <a:cxn ang="0">
                    <a:pos x="95" y="125"/>
                  </a:cxn>
                  <a:cxn ang="0">
                    <a:pos x="95" y="134"/>
                  </a:cxn>
                  <a:cxn ang="0">
                    <a:pos x="99" y="150"/>
                  </a:cxn>
                  <a:cxn ang="0">
                    <a:pos x="114" y="158"/>
                  </a:cxn>
                  <a:cxn ang="0">
                    <a:pos x="114" y="158"/>
                  </a:cxn>
                  <a:cxn ang="0">
                    <a:pos x="128" y="148"/>
                  </a:cxn>
                  <a:cxn ang="0">
                    <a:pos x="131" y="136"/>
                  </a:cxn>
                  <a:cxn ang="0">
                    <a:pos x="127" y="116"/>
                  </a:cxn>
                  <a:cxn ang="0">
                    <a:pos x="112" y="55"/>
                  </a:cxn>
                  <a:cxn ang="0">
                    <a:pos x="112" y="52"/>
                  </a:cxn>
                  <a:cxn ang="0">
                    <a:pos x="115" y="52"/>
                  </a:cxn>
                  <a:cxn ang="0">
                    <a:pos x="119" y="51"/>
                  </a:cxn>
                  <a:cxn ang="0">
                    <a:pos x="96" y="19"/>
                  </a:cxn>
                  <a:cxn ang="0">
                    <a:pos x="92" y="25"/>
                  </a:cxn>
                  <a:cxn ang="0">
                    <a:pos x="106" y="48"/>
                  </a:cxn>
                  <a:cxn ang="0">
                    <a:pos x="106" y="49"/>
                  </a:cxn>
                  <a:cxn ang="0">
                    <a:pos x="106" y="55"/>
                  </a:cxn>
                  <a:cxn ang="0">
                    <a:pos x="121" y="117"/>
                  </a:cxn>
                  <a:cxn ang="0">
                    <a:pos x="125" y="136"/>
                  </a:cxn>
                  <a:cxn ang="0">
                    <a:pos x="123" y="145"/>
                  </a:cxn>
                  <a:cxn ang="0">
                    <a:pos x="114" y="152"/>
                  </a:cxn>
                  <a:cxn ang="0">
                    <a:pos x="104" y="146"/>
                  </a:cxn>
                  <a:cxn ang="0">
                    <a:pos x="101" y="134"/>
                  </a:cxn>
                  <a:cxn ang="0">
                    <a:pos x="101" y="125"/>
                  </a:cxn>
                  <a:cxn ang="0">
                    <a:pos x="101" y="124"/>
                  </a:cxn>
                  <a:cxn ang="0">
                    <a:pos x="100" y="87"/>
                  </a:cxn>
                  <a:cxn ang="0">
                    <a:pos x="98" y="69"/>
                  </a:cxn>
                  <a:cxn ang="0">
                    <a:pos x="87" y="59"/>
                  </a:cxn>
                  <a:cxn ang="0">
                    <a:pos x="86" y="59"/>
                  </a:cxn>
                  <a:cxn ang="0">
                    <a:pos x="85" y="59"/>
                  </a:cxn>
                  <a:cxn ang="0">
                    <a:pos x="85" y="6"/>
                  </a:cxn>
                  <a:cxn ang="0">
                    <a:pos x="85" y="6"/>
                  </a:cxn>
                  <a:cxn ang="0">
                    <a:pos x="78" y="0"/>
                  </a:cxn>
                </a:cxnLst>
                <a:rect l="0" t="0" r="r" b="b"/>
                <a:pathLst>
                  <a:path w="131" h="166">
                    <a:moveTo>
                      <a:pt x="10" y="51"/>
                    </a:moveTo>
                    <a:cubicBezTo>
                      <a:pt x="10" y="15"/>
                      <a:pt x="10" y="15"/>
                      <a:pt x="10" y="15"/>
                    </a:cubicBezTo>
                    <a:cubicBezTo>
                      <a:pt x="74" y="15"/>
                      <a:pt x="74" y="15"/>
                      <a:pt x="74" y="15"/>
                    </a:cubicBezTo>
                    <a:cubicBezTo>
                      <a:pt x="74" y="51"/>
                      <a:pt x="74" y="51"/>
                      <a:pt x="74" y="51"/>
                    </a:cubicBezTo>
                    <a:cubicBezTo>
                      <a:pt x="10" y="51"/>
                      <a:pt x="10" y="51"/>
                      <a:pt x="10" y="51"/>
                    </a:cubicBezTo>
                    <a:moveTo>
                      <a:pt x="78" y="0"/>
                    </a:moveTo>
                    <a:cubicBezTo>
                      <a:pt x="6" y="0"/>
                      <a:pt x="6" y="0"/>
                      <a:pt x="6" y="0"/>
                    </a:cubicBezTo>
                    <a:cubicBezTo>
                      <a:pt x="3" y="0"/>
                      <a:pt x="0" y="3"/>
                      <a:pt x="0" y="6"/>
                    </a:cubicBezTo>
                    <a:cubicBezTo>
                      <a:pt x="0" y="6"/>
                      <a:pt x="0" y="6"/>
                      <a:pt x="0" y="6"/>
                    </a:cubicBezTo>
                    <a:cubicBezTo>
                      <a:pt x="0" y="166"/>
                      <a:pt x="0" y="166"/>
                      <a:pt x="0" y="166"/>
                    </a:cubicBezTo>
                    <a:cubicBezTo>
                      <a:pt x="85" y="166"/>
                      <a:pt x="85" y="166"/>
                      <a:pt x="85" y="166"/>
                    </a:cubicBezTo>
                    <a:cubicBezTo>
                      <a:pt x="85" y="65"/>
                      <a:pt x="85" y="65"/>
                      <a:pt x="85" y="65"/>
                    </a:cubicBezTo>
                    <a:cubicBezTo>
                      <a:pt x="85" y="65"/>
                      <a:pt x="86" y="65"/>
                      <a:pt x="86" y="65"/>
                    </a:cubicBezTo>
                    <a:cubicBezTo>
                      <a:pt x="90" y="66"/>
                      <a:pt x="91" y="67"/>
                      <a:pt x="93" y="71"/>
                    </a:cubicBezTo>
                    <a:cubicBezTo>
                      <a:pt x="94" y="75"/>
                      <a:pt x="94" y="81"/>
                      <a:pt x="94" y="87"/>
                    </a:cubicBezTo>
                    <a:cubicBezTo>
                      <a:pt x="94" y="100"/>
                      <a:pt x="95" y="112"/>
                      <a:pt x="95" y="124"/>
                    </a:cubicBezTo>
                    <a:cubicBezTo>
                      <a:pt x="95" y="124"/>
                      <a:pt x="95" y="124"/>
                      <a:pt x="95" y="125"/>
                    </a:cubicBezTo>
                    <a:cubicBezTo>
                      <a:pt x="95" y="127"/>
                      <a:pt x="95" y="131"/>
                      <a:pt x="95" y="134"/>
                    </a:cubicBezTo>
                    <a:cubicBezTo>
                      <a:pt x="95" y="139"/>
                      <a:pt x="95" y="145"/>
                      <a:pt x="99" y="150"/>
                    </a:cubicBezTo>
                    <a:cubicBezTo>
                      <a:pt x="103" y="155"/>
                      <a:pt x="108" y="158"/>
                      <a:pt x="114" y="158"/>
                    </a:cubicBezTo>
                    <a:cubicBezTo>
                      <a:pt x="114" y="158"/>
                      <a:pt x="114" y="158"/>
                      <a:pt x="114" y="158"/>
                    </a:cubicBezTo>
                    <a:cubicBezTo>
                      <a:pt x="120" y="158"/>
                      <a:pt x="125" y="154"/>
                      <a:pt x="128" y="148"/>
                    </a:cubicBezTo>
                    <a:cubicBezTo>
                      <a:pt x="130" y="144"/>
                      <a:pt x="131" y="140"/>
                      <a:pt x="131" y="136"/>
                    </a:cubicBezTo>
                    <a:cubicBezTo>
                      <a:pt x="131" y="129"/>
                      <a:pt x="129" y="121"/>
                      <a:pt x="127" y="116"/>
                    </a:cubicBezTo>
                    <a:cubicBezTo>
                      <a:pt x="123" y="96"/>
                      <a:pt x="112" y="74"/>
                      <a:pt x="112" y="55"/>
                    </a:cubicBezTo>
                    <a:cubicBezTo>
                      <a:pt x="112" y="54"/>
                      <a:pt x="112" y="53"/>
                      <a:pt x="112" y="52"/>
                    </a:cubicBezTo>
                    <a:cubicBezTo>
                      <a:pt x="113" y="52"/>
                      <a:pt x="114" y="52"/>
                      <a:pt x="115" y="52"/>
                    </a:cubicBezTo>
                    <a:cubicBezTo>
                      <a:pt x="117" y="52"/>
                      <a:pt x="118" y="52"/>
                      <a:pt x="119" y="51"/>
                    </a:cubicBezTo>
                    <a:cubicBezTo>
                      <a:pt x="124" y="46"/>
                      <a:pt x="101" y="24"/>
                      <a:pt x="96" y="19"/>
                    </a:cubicBezTo>
                    <a:cubicBezTo>
                      <a:pt x="96" y="19"/>
                      <a:pt x="91" y="23"/>
                      <a:pt x="92" y="25"/>
                    </a:cubicBezTo>
                    <a:cubicBezTo>
                      <a:pt x="95" y="27"/>
                      <a:pt x="106" y="48"/>
                      <a:pt x="106" y="48"/>
                    </a:cubicBezTo>
                    <a:cubicBezTo>
                      <a:pt x="106" y="49"/>
                      <a:pt x="106" y="49"/>
                      <a:pt x="106" y="49"/>
                    </a:cubicBezTo>
                    <a:cubicBezTo>
                      <a:pt x="106" y="51"/>
                      <a:pt x="106" y="53"/>
                      <a:pt x="106" y="55"/>
                    </a:cubicBezTo>
                    <a:cubicBezTo>
                      <a:pt x="106" y="76"/>
                      <a:pt x="117" y="98"/>
                      <a:pt x="121" y="117"/>
                    </a:cubicBezTo>
                    <a:cubicBezTo>
                      <a:pt x="123" y="123"/>
                      <a:pt x="125" y="130"/>
                      <a:pt x="125" y="136"/>
                    </a:cubicBezTo>
                    <a:cubicBezTo>
                      <a:pt x="125" y="139"/>
                      <a:pt x="124" y="142"/>
                      <a:pt x="123" y="145"/>
                    </a:cubicBezTo>
                    <a:cubicBezTo>
                      <a:pt x="120" y="150"/>
                      <a:pt x="117" y="152"/>
                      <a:pt x="114" y="152"/>
                    </a:cubicBezTo>
                    <a:cubicBezTo>
                      <a:pt x="111" y="152"/>
                      <a:pt x="107" y="150"/>
                      <a:pt x="104" y="146"/>
                    </a:cubicBezTo>
                    <a:cubicBezTo>
                      <a:pt x="102" y="143"/>
                      <a:pt x="101" y="139"/>
                      <a:pt x="101" y="134"/>
                    </a:cubicBezTo>
                    <a:cubicBezTo>
                      <a:pt x="101" y="131"/>
                      <a:pt x="101" y="128"/>
                      <a:pt x="101" y="125"/>
                    </a:cubicBezTo>
                    <a:cubicBezTo>
                      <a:pt x="101" y="124"/>
                      <a:pt x="101" y="124"/>
                      <a:pt x="101" y="124"/>
                    </a:cubicBezTo>
                    <a:cubicBezTo>
                      <a:pt x="101" y="111"/>
                      <a:pt x="100" y="99"/>
                      <a:pt x="100" y="87"/>
                    </a:cubicBezTo>
                    <a:cubicBezTo>
                      <a:pt x="100" y="81"/>
                      <a:pt x="100" y="74"/>
                      <a:pt x="98" y="69"/>
                    </a:cubicBezTo>
                    <a:cubicBezTo>
                      <a:pt x="97" y="64"/>
                      <a:pt x="93" y="59"/>
                      <a:pt x="87" y="59"/>
                    </a:cubicBezTo>
                    <a:cubicBezTo>
                      <a:pt x="87" y="59"/>
                      <a:pt x="87" y="59"/>
                      <a:pt x="86" y="59"/>
                    </a:cubicBezTo>
                    <a:cubicBezTo>
                      <a:pt x="86" y="59"/>
                      <a:pt x="85" y="59"/>
                      <a:pt x="85" y="59"/>
                    </a:cubicBezTo>
                    <a:cubicBezTo>
                      <a:pt x="85" y="6"/>
                      <a:pt x="85" y="6"/>
                      <a:pt x="85" y="6"/>
                    </a:cubicBezTo>
                    <a:cubicBezTo>
                      <a:pt x="85" y="6"/>
                      <a:pt x="85" y="6"/>
                      <a:pt x="85" y="6"/>
                    </a:cubicBezTo>
                    <a:cubicBezTo>
                      <a:pt x="84" y="3"/>
                      <a:pt x="82" y="0"/>
                      <a:pt x="78" y="0"/>
                    </a:cubicBezTo>
                  </a:path>
                </a:pathLst>
              </a:custGeom>
              <a:solidFill>
                <a:schemeClr val="bg1"/>
              </a:solidFill>
              <a:ln w="9525">
                <a:noFill/>
                <a:round/>
                <a:headEnd/>
                <a:tailEnd/>
              </a:ln>
            </p:spPr>
            <p:txBody>
              <a:bodyPr/>
              <a:lstStyle/>
              <a:p>
                <a:pPr defTabSz="913486">
                  <a:defRPr/>
                </a:pPr>
                <a:endParaRPr lang="en-US" sz="1798" u="sng" kern="0">
                  <a:solidFill>
                    <a:srgbClr val="233746"/>
                  </a:solidFill>
                </a:endParaRPr>
              </a:p>
            </p:txBody>
          </p:sp>
          <p:sp>
            <p:nvSpPr>
              <p:cNvPr id="270" name="Freeform 1127">
                <a:extLst>
                  <a:ext uri="{FF2B5EF4-FFF2-40B4-BE49-F238E27FC236}">
                    <a16:creationId xmlns:a16="http://schemas.microsoft.com/office/drawing/2014/main" id="{856DBD5E-1065-4B3A-ADE1-0CD1B5187385}"/>
                  </a:ext>
                </a:extLst>
              </p:cNvPr>
              <p:cNvSpPr>
                <a:spLocks noChangeAspect="1"/>
              </p:cNvSpPr>
              <p:nvPr>
                <p:custDataLst>
                  <p:tags r:id="rId2"/>
                </p:custDataLst>
              </p:nvPr>
            </p:nvSpPr>
            <p:spPr bwMode="auto">
              <a:xfrm>
                <a:off x="-68292" y="4898999"/>
                <a:ext cx="65214" cy="93436"/>
              </a:xfrm>
              <a:custGeom>
                <a:avLst/>
                <a:gdLst/>
                <a:ahLst/>
                <a:cxnLst>
                  <a:cxn ang="0">
                    <a:pos x="65" y="138"/>
                  </a:cxn>
                  <a:cxn ang="0">
                    <a:pos x="61" y="142"/>
                  </a:cxn>
                  <a:cxn ang="0">
                    <a:pos x="61" y="109"/>
                  </a:cxn>
                  <a:cxn ang="0">
                    <a:pos x="69" y="101"/>
                  </a:cxn>
                  <a:cxn ang="0">
                    <a:pos x="114" y="49"/>
                  </a:cxn>
                  <a:cxn ang="0">
                    <a:pos x="65" y="97"/>
                  </a:cxn>
                  <a:cxn ang="0">
                    <a:pos x="61" y="101"/>
                  </a:cxn>
                  <a:cxn ang="0">
                    <a:pos x="61" y="73"/>
                  </a:cxn>
                  <a:cxn ang="0">
                    <a:pos x="58" y="0"/>
                  </a:cxn>
                  <a:cxn ang="0">
                    <a:pos x="58" y="2"/>
                  </a:cxn>
                  <a:cxn ang="0">
                    <a:pos x="58" y="0"/>
                  </a:cxn>
                  <a:cxn ang="0">
                    <a:pos x="55" y="73"/>
                  </a:cxn>
                  <a:cxn ang="0">
                    <a:pos x="55" y="101"/>
                  </a:cxn>
                  <a:cxn ang="0">
                    <a:pos x="51" y="97"/>
                  </a:cxn>
                  <a:cxn ang="0">
                    <a:pos x="3" y="49"/>
                  </a:cxn>
                  <a:cxn ang="0">
                    <a:pos x="48" y="101"/>
                  </a:cxn>
                  <a:cxn ang="0">
                    <a:pos x="55" y="109"/>
                  </a:cxn>
                  <a:cxn ang="0">
                    <a:pos x="55" y="142"/>
                  </a:cxn>
                  <a:cxn ang="0">
                    <a:pos x="52" y="138"/>
                  </a:cxn>
                  <a:cxn ang="0">
                    <a:pos x="0" y="87"/>
                  </a:cxn>
                  <a:cxn ang="0">
                    <a:pos x="48" y="142"/>
                  </a:cxn>
                  <a:cxn ang="0">
                    <a:pos x="55" y="150"/>
                  </a:cxn>
                  <a:cxn ang="0">
                    <a:pos x="55" y="166"/>
                  </a:cxn>
                  <a:cxn ang="0">
                    <a:pos x="61" y="166"/>
                  </a:cxn>
                  <a:cxn ang="0">
                    <a:pos x="61" y="150"/>
                  </a:cxn>
                  <a:cxn ang="0">
                    <a:pos x="69" y="142"/>
                  </a:cxn>
                  <a:cxn ang="0">
                    <a:pos x="116" y="87"/>
                  </a:cxn>
                  <a:cxn ang="0">
                    <a:pos x="65" y="138"/>
                  </a:cxn>
                </a:cxnLst>
                <a:rect l="0" t="0" r="r" b="b"/>
                <a:pathLst>
                  <a:path w="116" h="166">
                    <a:moveTo>
                      <a:pt x="65" y="138"/>
                    </a:moveTo>
                    <a:cubicBezTo>
                      <a:pt x="61" y="142"/>
                      <a:pt x="61" y="142"/>
                      <a:pt x="61" y="142"/>
                    </a:cubicBezTo>
                    <a:cubicBezTo>
                      <a:pt x="61" y="109"/>
                      <a:pt x="61" y="109"/>
                      <a:pt x="61" y="109"/>
                    </a:cubicBezTo>
                    <a:cubicBezTo>
                      <a:pt x="69" y="101"/>
                      <a:pt x="69" y="101"/>
                      <a:pt x="69" y="101"/>
                    </a:cubicBezTo>
                    <a:cubicBezTo>
                      <a:pt x="106" y="97"/>
                      <a:pt x="104" y="59"/>
                      <a:pt x="114" y="49"/>
                    </a:cubicBezTo>
                    <a:cubicBezTo>
                      <a:pt x="105" y="59"/>
                      <a:pt x="67" y="60"/>
                      <a:pt x="65" y="97"/>
                    </a:cubicBezTo>
                    <a:cubicBezTo>
                      <a:pt x="61" y="101"/>
                      <a:pt x="61" y="101"/>
                      <a:pt x="61" y="101"/>
                    </a:cubicBezTo>
                    <a:cubicBezTo>
                      <a:pt x="61" y="73"/>
                      <a:pt x="61" y="73"/>
                      <a:pt x="61" y="73"/>
                    </a:cubicBezTo>
                    <a:cubicBezTo>
                      <a:pt x="87" y="43"/>
                      <a:pt x="58" y="15"/>
                      <a:pt x="58" y="0"/>
                    </a:cubicBezTo>
                    <a:cubicBezTo>
                      <a:pt x="58" y="1"/>
                      <a:pt x="58" y="1"/>
                      <a:pt x="58" y="2"/>
                    </a:cubicBezTo>
                    <a:cubicBezTo>
                      <a:pt x="58" y="1"/>
                      <a:pt x="58" y="1"/>
                      <a:pt x="58" y="0"/>
                    </a:cubicBezTo>
                    <a:cubicBezTo>
                      <a:pt x="58" y="15"/>
                      <a:pt x="29" y="43"/>
                      <a:pt x="55" y="73"/>
                    </a:cubicBezTo>
                    <a:cubicBezTo>
                      <a:pt x="55" y="101"/>
                      <a:pt x="55" y="101"/>
                      <a:pt x="55" y="101"/>
                    </a:cubicBezTo>
                    <a:cubicBezTo>
                      <a:pt x="51" y="97"/>
                      <a:pt x="51" y="97"/>
                      <a:pt x="51" y="97"/>
                    </a:cubicBezTo>
                    <a:cubicBezTo>
                      <a:pt x="50" y="60"/>
                      <a:pt x="12" y="59"/>
                      <a:pt x="3" y="49"/>
                    </a:cubicBezTo>
                    <a:cubicBezTo>
                      <a:pt x="12" y="59"/>
                      <a:pt x="11" y="97"/>
                      <a:pt x="48" y="101"/>
                    </a:cubicBezTo>
                    <a:cubicBezTo>
                      <a:pt x="55" y="109"/>
                      <a:pt x="55" y="109"/>
                      <a:pt x="55" y="109"/>
                    </a:cubicBezTo>
                    <a:cubicBezTo>
                      <a:pt x="55" y="142"/>
                      <a:pt x="55" y="142"/>
                      <a:pt x="55" y="142"/>
                    </a:cubicBezTo>
                    <a:cubicBezTo>
                      <a:pt x="52" y="138"/>
                      <a:pt x="52" y="138"/>
                      <a:pt x="52" y="138"/>
                    </a:cubicBezTo>
                    <a:cubicBezTo>
                      <a:pt x="50" y="99"/>
                      <a:pt x="10" y="97"/>
                      <a:pt x="0" y="87"/>
                    </a:cubicBezTo>
                    <a:cubicBezTo>
                      <a:pt x="10" y="97"/>
                      <a:pt x="8" y="138"/>
                      <a:pt x="48" y="142"/>
                    </a:cubicBezTo>
                    <a:cubicBezTo>
                      <a:pt x="55" y="150"/>
                      <a:pt x="55" y="150"/>
                      <a:pt x="55" y="150"/>
                    </a:cubicBezTo>
                    <a:cubicBezTo>
                      <a:pt x="55" y="166"/>
                      <a:pt x="55" y="166"/>
                      <a:pt x="55" y="166"/>
                    </a:cubicBezTo>
                    <a:cubicBezTo>
                      <a:pt x="61" y="166"/>
                      <a:pt x="61" y="166"/>
                      <a:pt x="61" y="166"/>
                    </a:cubicBezTo>
                    <a:cubicBezTo>
                      <a:pt x="61" y="150"/>
                      <a:pt x="61" y="150"/>
                      <a:pt x="61" y="150"/>
                    </a:cubicBezTo>
                    <a:cubicBezTo>
                      <a:pt x="69" y="142"/>
                      <a:pt x="69" y="142"/>
                      <a:pt x="69" y="142"/>
                    </a:cubicBezTo>
                    <a:cubicBezTo>
                      <a:pt x="108" y="138"/>
                      <a:pt x="107" y="97"/>
                      <a:pt x="116" y="87"/>
                    </a:cubicBezTo>
                    <a:cubicBezTo>
                      <a:pt x="107" y="97"/>
                      <a:pt x="66" y="99"/>
                      <a:pt x="65" y="138"/>
                    </a:cubicBezTo>
                    <a:close/>
                  </a:path>
                </a:pathLst>
              </a:custGeom>
              <a:solidFill>
                <a:schemeClr val="accent2"/>
              </a:solidFill>
              <a:ln w="9525">
                <a:noFill/>
                <a:round/>
                <a:headEnd/>
                <a:tailEnd/>
              </a:ln>
            </p:spPr>
            <p:txBody>
              <a:bodyPr/>
              <a:lstStyle/>
              <a:p>
                <a:pPr defTabSz="913486">
                  <a:defRPr/>
                </a:pPr>
                <a:endParaRPr lang="en-US" sz="1798" u="sng" kern="0">
                  <a:solidFill>
                    <a:srgbClr val="233746"/>
                  </a:solidFill>
                </a:endParaRPr>
              </a:p>
            </p:txBody>
          </p:sp>
        </p:grpSp>
        <p:grpSp>
          <p:nvGrpSpPr>
            <p:cNvPr id="265" name="Gruppieren 264">
              <a:extLst>
                <a:ext uri="{FF2B5EF4-FFF2-40B4-BE49-F238E27FC236}">
                  <a16:creationId xmlns:a16="http://schemas.microsoft.com/office/drawing/2014/main" id="{D00DC0C2-1EF7-423E-B7AD-451BE5BEC2EF}"/>
                </a:ext>
              </a:extLst>
            </p:cNvPr>
            <p:cNvGrpSpPr>
              <a:grpSpLocks/>
            </p:cNvGrpSpPr>
            <p:nvPr/>
          </p:nvGrpSpPr>
          <p:grpSpPr>
            <a:xfrm>
              <a:off x="628794" y="4772312"/>
              <a:ext cx="241712" cy="241711"/>
              <a:chOff x="-188753" y="4759071"/>
              <a:chExt cx="318041" cy="318040"/>
            </a:xfrm>
          </p:grpSpPr>
          <p:sp>
            <p:nvSpPr>
              <p:cNvPr id="266" name="Oval 32">
                <a:extLst>
                  <a:ext uri="{FF2B5EF4-FFF2-40B4-BE49-F238E27FC236}">
                    <a16:creationId xmlns:a16="http://schemas.microsoft.com/office/drawing/2014/main" id="{9326FA9C-425E-4694-92CF-FA6AFD72B6CB}"/>
                  </a:ext>
                </a:extLst>
              </p:cNvPr>
              <p:cNvSpPr/>
              <p:nvPr/>
            </p:nvSpPr>
            <p:spPr bwMode="auto">
              <a:xfrm>
                <a:off x="-188753" y="4759071"/>
                <a:ext cx="318041" cy="318040"/>
              </a:xfrm>
              <a:prstGeom prst="ellipse">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u="sng">
                  <a:solidFill>
                    <a:schemeClr val="bg1"/>
                  </a:solidFill>
                  <a:ea typeface="Arial Unicode MS" panose="020B0604020202020204" pitchFamily="34" charset="-128"/>
                  <a:cs typeface="Arial" panose="020B0604020202020204" pitchFamily="34" charset="0"/>
                </a:endParaRPr>
              </a:p>
            </p:txBody>
          </p:sp>
          <p:sp>
            <p:nvSpPr>
              <p:cNvPr id="267" name="Freeform 549">
                <a:extLst>
                  <a:ext uri="{FF2B5EF4-FFF2-40B4-BE49-F238E27FC236}">
                    <a16:creationId xmlns:a16="http://schemas.microsoft.com/office/drawing/2014/main" id="{FF60455C-FFFC-42B8-A2CE-80D69F6971D6}"/>
                  </a:ext>
                </a:extLst>
              </p:cNvPr>
              <p:cNvSpPr>
                <a:spLocks noChangeAspect="1" noEditPoints="1"/>
              </p:cNvSpPr>
              <p:nvPr/>
            </p:nvSpPr>
            <p:spPr bwMode="auto">
              <a:xfrm>
                <a:off x="-83980" y="4824763"/>
                <a:ext cx="146861" cy="186655"/>
              </a:xfrm>
              <a:custGeom>
                <a:avLst/>
                <a:gdLst/>
                <a:ahLst/>
                <a:cxnLst>
                  <a:cxn ang="0">
                    <a:pos x="10" y="51"/>
                  </a:cxn>
                  <a:cxn ang="0">
                    <a:pos x="10" y="15"/>
                  </a:cxn>
                  <a:cxn ang="0">
                    <a:pos x="74" y="15"/>
                  </a:cxn>
                  <a:cxn ang="0">
                    <a:pos x="74" y="51"/>
                  </a:cxn>
                  <a:cxn ang="0">
                    <a:pos x="10" y="51"/>
                  </a:cxn>
                  <a:cxn ang="0">
                    <a:pos x="78" y="0"/>
                  </a:cxn>
                  <a:cxn ang="0">
                    <a:pos x="6" y="0"/>
                  </a:cxn>
                  <a:cxn ang="0">
                    <a:pos x="0" y="6"/>
                  </a:cxn>
                  <a:cxn ang="0">
                    <a:pos x="0" y="6"/>
                  </a:cxn>
                  <a:cxn ang="0">
                    <a:pos x="0" y="166"/>
                  </a:cxn>
                  <a:cxn ang="0">
                    <a:pos x="85" y="166"/>
                  </a:cxn>
                  <a:cxn ang="0">
                    <a:pos x="85" y="65"/>
                  </a:cxn>
                  <a:cxn ang="0">
                    <a:pos x="86" y="65"/>
                  </a:cxn>
                  <a:cxn ang="0">
                    <a:pos x="93" y="71"/>
                  </a:cxn>
                  <a:cxn ang="0">
                    <a:pos x="94" y="87"/>
                  </a:cxn>
                  <a:cxn ang="0">
                    <a:pos x="95" y="124"/>
                  </a:cxn>
                  <a:cxn ang="0">
                    <a:pos x="95" y="125"/>
                  </a:cxn>
                  <a:cxn ang="0">
                    <a:pos x="95" y="134"/>
                  </a:cxn>
                  <a:cxn ang="0">
                    <a:pos x="99" y="150"/>
                  </a:cxn>
                  <a:cxn ang="0">
                    <a:pos x="114" y="158"/>
                  </a:cxn>
                  <a:cxn ang="0">
                    <a:pos x="114" y="158"/>
                  </a:cxn>
                  <a:cxn ang="0">
                    <a:pos x="128" y="148"/>
                  </a:cxn>
                  <a:cxn ang="0">
                    <a:pos x="131" y="136"/>
                  </a:cxn>
                  <a:cxn ang="0">
                    <a:pos x="127" y="116"/>
                  </a:cxn>
                  <a:cxn ang="0">
                    <a:pos x="112" y="55"/>
                  </a:cxn>
                  <a:cxn ang="0">
                    <a:pos x="112" y="52"/>
                  </a:cxn>
                  <a:cxn ang="0">
                    <a:pos x="115" y="52"/>
                  </a:cxn>
                  <a:cxn ang="0">
                    <a:pos x="119" y="51"/>
                  </a:cxn>
                  <a:cxn ang="0">
                    <a:pos x="96" y="19"/>
                  </a:cxn>
                  <a:cxn ang="0">
                    <a:pos x="92" y="25"/>
                  </a:cxn>
                  <a:cxn ang="0">
                    <a:pos x="106" y="48"/>
                  </a:cxn>
                  <a:cxn ang="0">
                    <a:pos x="106" y="49"/>
                  </a:cxn>
                  <a:cxn ang="0">
                    <a:pos x="106" y="55"/>
                  </a:cxn>
                  <a:cxn ang="0">
                    <a:pos x="121" y="117"/>
                  </a:cxn>
                  <a:cxn ang="0">
                    <a:pos x="125" y="136"/>
                  </a:cxn>
                  <a:cxn ang="0">
                    <a:pos x="123" y="145"/>
                  </a:cxn>
                  <a:cxn ang="0">
                    <a:pos x="114" y="152"/>
                  </a:cxn>
                  <a:cxn ang="0">
                    <a:pos x="104" y="146"/>
                  </a:cxn>
                  <a:cxn ang="0">
                    <a:pos x="101" y="134"/>
                  </a:cxn>
                  <a:cxn ang="0">
                    <a:pos x="101" y="125"/>
                  </a:cxn>
                  <a:cxn ang="0">
                    <a:pos x="101" y="124"/>
                  </a:cxn>
                  <a:cxn ang="0">
                    <a:pos x="100" y="87"/>
                  </a:cxn>
                  <a:cxn ang="0">
                    <a:pos x="98" y="69"/>
                  </a:cxn>
                  <a:cxn ang="0">
                    <a:pos x="87" y="59"/>
                  </a:cxn>
                  <a:cxn ang="0">
                    <a:pos x="86" y="59"/>
                  </a:cxn>
                  <a:cxn ang="0">
                    <a:pos x="85" y="59"/>
                  </a:cxn>
                  <a:cxn ang="0">
                    <a:pos x="85" y="6"/>
                  </a:cxn>
                  <a:cxn ang="0">
                    <a:pos x="85" y="6"/>
                  </a:cxn>
                  <a:cxn ang="0">
                    <a:pos x="78" y="0"/>
                  </a:cxn>
                </a:cxnLst>
                <a:rect l="0" t="0" r="r" b="b"/>
                <a:pathLst>
                  <a:path w="131" h="166">
                    <a:moveTo>
                      <a:pt x="10" y="51"/>
                    </a:moveTo>
                    <a:cubicBezTo>
                      <a:pt x="10" y="15"/>
                      <a:pt x="10" y="15"/>
                      <a:pt x="10" y="15"/>
                    </a:cubicBezTo>
                    <a:cubicBezTo>
                      <a:pt x="74" y="15"/>
                      <a:pt x="74" y="15"/>
                      <a:pt x="74" y="15"/>
                    </a:cubicBezTo>
                    <a:cubicBezTo>
                      <a:pt x="74" y="51"/>
                      <a:pt x="74" y="51"/>
                      <a:pt x="74" y="51"/>
                    </a:cubicBezTo>
                    <a:cubicBezTo>
                      <a:pt x="10" y="51"/>
                      <a:pt x="10" y="51"/>
                      <a:pt x="10" y="51"/>
                    </a:cubicBezTo>
                    <a:moveTo>
                      <a:pt x="78" y="0"/>
                    </a:moveTo>
                    <a:cubicBezTo>
                      <a:pt x="6" y="0"/>
                      <a:pt x="6" y="0"/>
                      <a:pt x="6" y="0"/>
                    </a:cubicBezTo>
                    <a:cubicBezTo>
                      <a:pt x="3" y="0"/>
                      <a:pt x="0" y="3"/>
                      <a:pt x="0" y="6"/>
                    </a:cubicBezTo>
                    <a:cubicBezTo>
                      <a:pt x="0" y="6"/>
                      <a:pt x="0" y="6"/>
                      <a:pt x="0" y="6"/>
                    </a:cubicBezTo>
                    <a:cubicBezTo>
                      <a:pt x="0" y="166"/>
                      <a:pt x="0" y="166"/>
                      <a:pt x="0" y="166"/>
                    </a:cubicBezTo>
                    <a:cubicBezTo>
                      <a:pt x="85" y="166"/>
                      <a:pt x="85" y="166"/>
                      <a:pt x="85" y="166"/>
                    </a:cubicBezTo>
                    <a:cubicBezTo>
                      <a:pt x="85" y="65"/>
                      <a:pt x="85" y="65"/>
                      <a:pt x="85" y="65"/>
                    </a:cubicBezTo>
                    <a:cubicBezTo>
                      <a:pt x="85" y="65"/>
                      <a:pt x="86" y="65"/>
                      <a:pt x="86" y="65"/>
                    </a:cubicBezTo>
                    <a:cubicBezTo>
                      <a:pt x="90" y="66"/>
                      <a:pt x="91" y="67"/>
                      <a:pt x="93" y="71"/>
                    </a:cubicBezTo>
                    <a:cubicBezTo>
                      <a:pt x="94" y="75"/>
                      <a:pt x="94" y="81"/>
                      <a:pt x="94" y="87"/>
                    </a:cubicBezTo>
                    <a:cubicBezTo>
                      <a:pt x="94" y="100"/>
                      <a:pt x="95" y="112"/>
                      <a:pt x="95" y="124"/>
                    </a:cubicBezTo>
                    <a:cubicBezTo>
                      <a:pt x="95" y="124"/>
                      <a:pt x="95" y="124"/>
                      <a:pt x="95" y="125"/>
                    </a:cubicBezTo>
                    <a:cubicBezTo>
                      <a:pt x="95" y="127"/>
                      <a:pt x="95" y="131"/>
                      <a:pt x="95" y="134"/>
                    </a:cubicBezTo>
                    <a:cubicBezTo>
                      <a:pt x="95" y="139"/>
                      <a:pt x="95" y="145"/>
                      <a:pt x="99" y="150"/>
                    </a:cubicBezTo>
                    <a:cubicBezTo>
                      <a:pt x="103" y="155"/>
                      <a:pt x="108" y="158"/>
                      <a:pt x="114" y="158"/>
                    </a:cubicBezTo>
                    <a:cubicBezTo>
                      <a:pt x="114" y="158"/>
                      <a:pt x="114" y="158"/>
                      <a:pt x="114" y="158"/>
                    </a:cubicBezTo>
                    <a:cubicBezTo>
                      <a:pt x="120" y="158"/>
                      <a:pt x="125" y="154"/>
                      <a:pt x="128" y="148"/>
                    </a:cubicBezTo>
                    <a:cubicBezTo>
                      <a:pt x="130" y="144"/>
                      <a:pt x="131" y="140"/>
                      <a:pt x="131" y="136"/>
                    </a:cubicBezTo>
                    <a:cubicBezTo>
                      <a:pt x="131" y="129"/>
                      <a:pt x="129" y="121"/>
                      <a:pt x="127" y="116"/>
                    </a:cubicBezTo>
                    <a:cubicBezTo>
                      <a:pt x="123" y="96"/>
                      <a:pt x="112" y="74"/>
                      <a:pt x="112" y="55"/>
                    </a:cubicBezTo>
                    <a:cubicBezTo>
                      <a:pt x="112" y="54"/>
                      <a:pt x="112" y="53"/>
                      <a:pt x="112" y="52"/>
                    </a:cubicBezTo>
                    <a:cubicBezTo>
                      <a:pt x="113" y="52"/>
                      <a:pt x="114" y="52"/>
                      <a:pt x="115" y="52"/>
                    </a:cubicBezTo>
                    <a:cubicBezTo>
                      <a:pt x="117" y="52"/>
                      <a:pt x="118" y="52"/>
                      <a:pt x="119" y="51"/>
                    </a:cubicBezTo>
                    <a:cubicBezTo>
                      <a:pt x="124" y="46"/>
                      <a:pt x="101" y="24"/>
                      <a:pt x="96" y="19"/>
                    </a:cubicBezTo>
                    <a:cubicBezTo>
                      <a:pt x="96" y="19"/>
                      <a:pt x="91" y="23"/>
                      <a:pt x="92" y="25"/>
                    </a:cubicBezTo>
                    <a:cubicBezTo>
                      <a:pt x="95" y="27"/>
                      <a:pt x="106" y="48"/>
                      <a:pt x="106" y="48"/>
                    </a:cubicBezTo>
                    <a:cubicBezTo>
                      <a:pt x="106" y="49"/>
                      <a:pt x="106" y="49"/>
                      <a:pt x="106" y="49"/>
                    </a:cubicBezTo>
                    <a:cubicBezTo>
                      <a:pt x="106" y="51"/>
                      <a:pt x="106" y="53"/>
                      <a:pt x="106" y="55"/>
                    </a:cubicBezTo>
                    <a:cubicBezTo>
                      <a:pt x="106" y="76"/>
                      <a:pt x="117" y="98"/>
                      <a:pt x="121" y="117"/>
                    </a:cubicBezTo>
                    <a:cubicBezTo>
                      <a:pt x="123" y="123"/>
                      <a:pt x="125" y="130"/>
                      <a:pt x="125" y="136"/>
                    </a:cubicBezTo>
                    <a:cubicBezTo>
                      <a:pt x="125" y="139"/>
                      <a:pt x="124" y="142"/>
                      <a:pt x="123" y="145"/>
                    </a:cubicBezTo>
                    <a:cubicBezTo>
                      <a:pt x="120" y="150"/>
                      <a:pt x="117" y="152"/>
                      <a:pt x="114" y="152"/>
                    </a:cubicBezTo>
                    <a:cubicBezTo>
                      <a:pt x="111" y="152"/>
                      <a:pt x="107" y="150"/>
                      <a:pt x="104" y="146"/>
                    </a:cubicBezTo>
                    <a:cubicBezTo>
                      <a:pt x="102" y="143"/>
                      <a:pt x="101" y="139"/>
                      <a:pt x="101" y="134"/>
                    </a:cubicBezTo>
                    <a:cubicBezTo>
                      <a:pt x="101" y="131"/>
                      <a:pt x="101" y="128"/>
                      <a:pt x="101" y="125"/>
                    </a:cubicBezTo>
                    <a:cubicBezTo>
                      <a:pt x="101" y="124"/>
                      <a:pt x="101" y="124"/>
                      <a:pt x="101" y="124"/>
                    </a:cubicBezTo>
                    <a:cubicBezTo>
                      <a:pt x="101" y="111"/>
                      <a:pt x="100" y="99"/>
                      <a:pt x="100" y="87"/>
                    </a:cubicBezTo>
                    <a:cubicBezTo>
                      <a:pt x="100" y="81"/>
                      <a:pt x="100" y="74"/>
                      <a:pt x="98" y="69"/>
                    </a:cubicBezTo>
                    <a:cubicBezTo>
                      <a:pt x="97" y="64"/>
                      <a:pt x="93" y="59"/>
                      <a:pt x="87" y="59"/>
                    </a:cubicBezTo>
                    <a:cubicBezTo>
                      <a:pt x="87" y="59"/>
                      <a:pt x="87" y="59"/>
                      <a:pt x="86" y="59"/>
                    </a:cubicBezTo>
                    <a:cubicBezTo>
                      <a:pt x="86" y="59"/>
                      <a:pt x="85" y="59"/>
                      <a:pt x="85" y="59"/>
                    </a:cubicBezTo>
                    <a:cubicBezTo>
                      <a:pt x="85" y="6"/>
                      <a:pt x="85" y="6"/>
                      <a:pt x="85" y="6"/>
                    </a:cubicBezTo>
                    <a:cubicBezTo>
                      <a:pt x="85" y="6"/>
                      <a:pt x="85" y="6"/>
                      <a:pt x="85" y="6"/>
                    </a:cubicBezTo>
                    <a:cubicBezTo>
                      <a:pt x="84" y="3"/>
                      <a:pt x="82" y="0"/>
                      <a:pt x="78" y="0"/>
                    </a:cubicBezTo>
                  </a:path>
                </a:pathLst>
              </a:custGeom>
              <a:solidFill>
                <a:schemeClr val="bg1"/>
              </a:solidFill>
              <a:ln w="9525">
                <a:noFill/>
                <a:round/>
                <a:headEnd/>
                <a:tailEnd/>
              </a:ln>
            </p:spPr>
            <p:txBody>
              <a:bodyPr/>
              <a:lstStyle/>
              <a:p>
                <a:pPr defTabSz="913486">
                  <a:defRPr/>
                </a:pPr>
                <a:endParaRPr lang="en-US" sz="1798" u="sng" kern="0">
                  <a:solidFill>
                    <a:srgbClr val="233746"/>
                  </a:solidFill>
                </a:endParaRPr>
              </a:p>
            </p:txBody>
          </p:sp>
        </p:grpSp>
      </p:grpSp>
    </p:spTree>
    <p:extLst>
      <p:ext uri="{BB962C8B-B14F-4D97-AF65-F5344CB8AC3E}">
        <p14:creationId xmlns:p14="http://schemas.microsoft.com/office/powerpoint/2010/main" val="231781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4288111-1BB3-9C12-DB18-CCC510B562BC}"/>
              </a:ext>
            </a:extLst>
          </p:cNvPr>
          <p:cNvGraphicFramePr>
            <a:graphicFrameLocks noChangeAspect="1"/>
          </p:cNvGraphicFramePr>
          <p:nvPr>
            <p:custDataLst>
              <p:tags r:id="rId1"/>
            </p:custDataLst>
            <p:extLst>
              <p:ext uri="{D42A27DB-BD31-4B8C-83A1-F6EECF244321}">
                <p14:modId xmlns:p14="http://schemas.microsoft.com/office/powerpoint/2010/main" val="1652357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4" name="Objekt 3" hidden="1">
                        <a:extLst>
                          <a:ext uri="{FF2B5EF4-FFF2-40B4-BE49-F238E27FC236}">
                            <a16:creationId xmlns:a16="http://schemas.microsoft.com/office/drawing/2014/main" id="{94288111-1BB3-9C12-DB18-CCC510B56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hteck 51">
            <a:extLst>
              <a:ext uri="{FF2B5EF4-FFF2-40B4-BE49-F238E27FC236}">
                <a16:creationId xmlns:a16="http://schemas.microsoft.com/office/drawing/2014/main" id="{01D86338-6212-02DC-2C9F-7B07CDB699EB}"/>
              </a:ext>
            </a:extLst>
          </p:cNvPr>
          <p:cNvSpPr>
            <a:spLocks/>
          </p:cNvSpPr>
          <p:nvPr/>
        </p:nvSpPr>
        <p:spPr>
          <a:xfrm>
            <a:off x="1" y="1412875"/>
            <a:ext cx="4820477" cy="439420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u="sng"/>
          </a:p>
        </p:txBody>
      </p:sp>
      <p:sp>
        <p:nvSpPr>
          <p:cNvPr id="2" name="Titel 1">
            <a:extLst>
              <a:ext uri="{FF2B5EF4-FFF2-40B4-BE49-F238E27FC236}">
                <a16:creationId xmlns:a16="http://schemas.microsoft.com/office/drawing/2014/main" id="{53C93B7F-B3E0-A2C2-0B4C-1D743CB8D317}"/>
              </a:ext>
            </a:extLst>
          </p:cNvPr>
          <p:cNvSpPr>
            <a:spLocks noGrp="1"/>
          </p:cNvSpPr>
          <p:nvPr>
            <p:ph type="title"/>
          </p:nvPr>
        </p:nvSpPr>
        <p:spPr/>
        <p:txBody>
          <a:bodyPr vert="horz"/>
          <a:lstStyle/>
          <a:p>
            <a:r>
              <a:rPr lang="en-US"/>
              <a:t>Assessing technologies for climate friendly trucking involves several aspects</a:t>
            </a:r>
          </a:p>
        </p:txBody>
      </p:sp>
      <p:sp>
        <p:nvSpPr>
          <p:cNvPr id="14" name="Textfeld 13">
            <a:extLst>
              <a:ext uri="{FF2B5EF4-FFF2-40B4-BE49-F238E27FC236}">
                <a16:creationId xmlns:a16="http://schemas.microsoft.com/office/drawing/2014/main" id="{95EB68B2-DB8E-EA97-A604-E7B5C6B59437}"/>
              </a:ext>
            </a:extLst>
          </p:cNvPr>
          <p:cNvSpPr txBox="1"/>
          <p:nvPr/>
        </p:nvSpPr>
        <p:spPr>
          <a:xfrm>
            <a:off x="410400" y="1607236"/>
            <a:ext cx="4072148" cy="2585323"/>
          </a:xfrm>
          <a:prstGeom prst="rect">
            <a:avLst/>
          </a:prstGeom>
          <a:noFill/>
        </p:spPr>
        <p:txBody>
          <a:bodyPr wrap="square" lIns="0" tIns="0" rIns="0" bIns="0">
            <a:spAutoFit/>
          </a:bodyPr>
          <a:lstStyle/>
          <a:p>
            <a:pPr algn="l"/>
            <a:r>
              <a:rPr lang="en-US" sz="4400" dirty="0">
                <a:gradFill>
                  <a:gsLst>
                    <a:gs pos="0">
                      <a:srgbClr val="00FFB9"/>
                    </a:gs>
                    <a:gs pos="100000">
                      <a:srgbClr val="00E6DC"/>
                    </a:gs>
                  </a:gsLst>
                  <a:lin ang="0" scaled="0"/>
                </a:gradFill>
              </a:rPr>
              <a:t>Criteria relevant for scaling up technologies </a:t>
            </a:r>
            <a:br>
              <a:rPr lang="en-US" sz="4400" dirty="0">
                <a:gradFill>
                  <a:gsLst>
                    <a:gs pos="0">
                      <a:srgbClr val="00FFB9"/>
                    </a:gs>
                    <a:gs pos="100000">
                      <a:srgbClr val="00E6DC"/>
                    </a:gs>
                  </a:gsLst>
                  <a:lin ang="0" scaled="0"/>
                </a:gradFill>
              </a:rPr>
            </a:br>
            <a:r>
              <a:rPr lang="en-US" b="1" dirty="0">
                <a:solidFill>
                  <a:srgbClr val="CCCCD4"/>
                </a:solidFill>
              </a:rPr>
              <a:t>and thus achieving </a:t>
            </a:r>
            <a:br>
              <a:rPr lang="en-US" b="1" dirty="0">
                <a:solidFill>
                  <a:srgbClr val="CCCCD4"/>
                </a:solidFill>
              </a:rPr>
            </a:br>
            <a:r>
              <a:rPr lang="en-US" b="1" dirty="0">
                <a:solidFill>
                  <a:srgbClr val="CCCCD4"/>
                </a:solidFill>
              </a:rPr>
              <a:t>the climate targets</a:t>
            </a:r>
          </a:p>
        </p:txBody>
      </p:sp>
      <p:sp>
        <p:nvSpPr>
          <p:cNvPr id="15" name="Textfeld 14">
            <a:extLst>
              <a:ext uri="{FF2B5EF4-FFF2-40B4-BE49-F238E27FC236}">
                <a16:creationId xmlns:a16="http://schemas.microsoft.com/office/drawing/2014/main" id="{89FEE773-34C6-F42E-3D06-1D727B6B2754}"/>
              </a:ext>
            </a:extLst>
          </p:cNvPr>
          <p:cNvSpPr txBox="1">
            <a:spLocks/>
          </p:cNvSpPr>
          <p:nvPr/>
        </p:nvSpPr>
        <p:spPr>
          <a:xfrm>
            <a:off x="6122300" y="1703354"/>
            <a:ext cx="3916223" cy="218586"/>
          </a:xfrm>
          <a:prstGeom prst="rect">
            <a:avLst/>
          </a:prstGeom>
          <a:noFill/>
        </p:spPr>
        <p:txBody>
          <a:bodyPr wrap="square" lIns="0" tIns="0" rIns="0" bIns="0">
            <a:noAutofit/>
          </a:bodyPr>
          <a:lstStyle/>
          <a:p>
            <a:pPr marL="0" lvl="1">
              <a:spcAft>
                <a:spcPts val="300"/>
              </a:spcAft>
              <a:buClr>
                <a:srgbClr val="9999A9"/>
              </a:buClr>
              <a:buSzPct val="100000"/>
            </a:pPr>
            <a:r>
              <a:rPr lang="en-US" sz="1600">
                <a:solidFill>
                  <a:srgbClr val="CCCCD4"/>
                </a:solidFill>
              </a:rPr>
              <a:t>Operational range</a:t>
            </a:r>
          </a:p>
        </p:txBody>
      </p:sp>
      <p:sp>
        <p:nvSpPr>
          <p:cNvPr id="16" name="Textfeld 15">
            <a:extLst>
              <a:ext uri="{FF2B5EF4-FFF2-40B4-BE49-F238E27FC236}">
                <a16:creationId xmlns:a16="http://schemas.microsoft.com/office/drawing/2014/main" id="{E9DD7EA5-5912-4C2A-98CA-7C4C787135DC}"/>
              </a:ext>
            </a:extLst>
          </p:cNvPr>
          <p:cNvSpPr txBox="1">
            <a:spLocks/>
          </p:cNvSpPr>
          <p:nvPr/>
        </p:nvSpPr>
        <p:spPr>
          <a:xfrm>
            <a:off x="6122300" y="2271530"/>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Time to market</a:t>
            </a:r>
          </a:p>
        </p:txBody>
      </p:sp>
      <p:sp>
        <p:nvSpPr>
          <p:cNvPr id="17" name="Textfeld 16">
            <a:extLst>
              <a:ext uri="{FF2B5EF4-FFF2-40B4-BE49-F238E27FC236}">
                <a16:creationId xmlns:a16="http://schemas.microsoft.com/office/drawing/2014/main" id="{8762BBB3-8507-47FC-8497-614C212A17B7}"/>
              </a:ext>
            </a:extLst>
          </p:cNvPr>
          <p:cNvSpPr txBox="1">
            <a:spLocks/>
          </p:cNvSpPr>
          <p:nvPr/>
        </p:nvSpPr>
        <p:spPr>
          <a:xfrm>
            <a:off x="6122300" y="2867341"/>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Scalability &amp; resource efficiency</a:t>
            </a:r>
          </a:p>
        </p:txBody>
      </p:sp>
      <p:sp>
        <p:nvSpPr>
          <p:cNvPr id="18" name="Textfeld 17">
            <a:extLst>
              <a:ext uri="{FF2B5EF4-FFF2-40B4-BE49-F238E27FC236}">
                <a16:creationId xmlns:a16="http://schemas.microsoft.com/office/drawing/2014/main" id="{146E1670-2C38-C591-0BEB-4F307DB9FECA}"/>
              </a:ext>
            </a:extLst>
          </p:cNvPr>
          <p:cNvSpPr txBox="1">
            <a:spLocks/>
          </p:cNvSpPr>
          <p:nvPr/>
        </p:nvSpPr>
        <p:spPr>
          <a:xfrm>
            <a:off x="6122300" y="3463152"/>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Energy efficiency</a:t>
            </a:r>
          </a:p>
        </p:txBody>
      </p:sp>
      <p:sp>
        <p:nvSpPr>
          <p:cNvPr id="19" name="Textfeld 18">
            <a:extLst>
              <a:ext uri="{FF2B5EF4-FFF2-40B4-BE49-F238E27FC236}">
                <a16:creationId xmlns:a16="http://schemas.microsoft.com/office/drawing/2014/main" id="{CF9901ED-F5AA-C2F8-CA52-46BB6099CED5}"/>
              </a:ext>
            </a:extLst>
          </p:cNvPr>
          <p:cNvSpPr txBox="1">
            <a:spLocks/>
          </p:cNvSpPr>
          <p:nvPr/>
        </p:nvSpPr>
        <p:spPr>
          <a:xfrm>
            <a:off x="6122300" y="4058963"/>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Total cost of ownership</a:t>
            </a:r>
          </a:p>
        </p:txBody>
      </p:sp>
      <p:sp>
        <p:nvSpPr>
          <p:cNvPr id="20" name="Textfeld 19">
            <a:extLst>
              <a:ext uri="{FF2B5EF4-FFF2-40B4-BE49-F238E27FC236}">
                <a16:creationId xmlns:a16="http://schemas.microsoft.com/office/drawing/2014/main" id="{852F5C2E-37B2-028C-7F1C-36B9881EF90A}"/>
              </a:ext>
            </a:extLst>
          </p:cNvPr>
          <p:cNvSpPr txBox="1">
            <a:spLocks/>
          </p:cNvSpPr>
          <p:nvPr/>
        </p:nvSpPr>
        <p:spPr>
          <a:xfrm>
            <a:off x="6122300" y="4654775"/>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Flexibility</a:t>
            </a:r>
          </a:p>
        </p:txBody>
      </p:sp>
      <p:sp>
        <p:nvSpPr>
          <p:cNvPr id="21" name="Textfeld 20">
            <a:extLst>
              <a:ext uri="{FF2B5EF4-FFF2-40B4-BE49-F238E27FC236}">
                <a16:creationId xmlns:a16="http://schemas.microsoft.com/office/drawing/2014/main" id="{024EC7E4-06F4-0A06-9B4C-B58275C9A9AC}"/>
              </a:ext>
            </a:extLst>
          </p:cNvPr>
          <p:cNvSpPr txBox="1">
            <a:spLocks/>
          </p:cNvSpPr>
          <p:nvPr/>
        </p:nvSpPr>
        <p:spPr>
          <a:xfrm>
            <a:off x="6122300" y="5250585"/>
            <a:ext cx="3916223" cy="246221"/>
          </a:xfrm>
          <a:prstGeom prst="rect">
            <a:avLst/>
          </a:prstGeom>
          <a:noFill/>
        </p:spPr>
        <p:txBody>
          <a:bodyPr wrap="square" lIns="0" tIns="0" rIns="0" bIns="0">
            <a:spAutoFit/>
          </a:bodyPr>
          <a:lstStyle/>
          <a:p>
            <a:pPr marL="0" lvl="1">
              <a:spcAft>
                <a:spcPts val="300"/>
              </a:spcAft>
              <a:buClr>
                <a:srgbClr val="9999A9"/>
              </a:buClr>
              <a:buSzPct val="100000"/>
            </a:pPr>
            <a:r>
              <a:rPr lang="en-US" sz="1600">
                <a:solidFill>
                  <a:srgbClr val="CCCCD4"/>
                </a:solidFill>
              </a:rPr>
              <a:t>CO</a:t>
            </a:r>
            <a:r>
              <a:rPr lang="en-US" sz="1600" baseline="-25000">
                <a:solidFill>
                  <a:srgbClr val="CCCCD4"/>
                </a:solidFill>
              </a:rPr>
              <a:t>2</a:t>
            </a:r>
            <a:r>
              <a:rPr lang="en-US" sz="1600">
                <a:solidFill>
                  <a:srgbClr val="CCCCD4"/>
                </a:solidFill>
              </a:rPr>
              <a:t> abatement cost</a:t>
            </a:r>
          </a:p>
        </p:txBody>
      </p:sp>
      <p:cxnSp>
        <p:nvCxnSpPr>
          <p:cNvPr id="22" name="Gerader Verbinder 21">
            <a:extLst>
              <a:ext uri="{FF2B5EF4-FFF2-40B4-BE49-F238E27FC236}">
                <a16:creationId xmlns:a16="http://schemas.microsoft.com/office/drawing/2014/main" id="{2888D8E5-187E-040A-0B43-4E84459348A5}"/>
              </a:ext>
            </a:extLst>
          </p:cNvPr>
          <p:cNvCxnSpPr>
            <a:cxnSpLocks/>
          </p:cNvCxnSpPr>
          <p:nvPr/>
        </p:nvCxnSpPr>
        <p:spPr>
          <a:xfrm>
            <a:off x="6121538" y="2692546"/>
            <a:ext cx="284980" cy="0"/>
          </a:xfrm>
          <a:prstGeom prst="line">
            <a:avLst/>
          </a:prstGeom>
          <a:noFill/>
          <a:ln w="9525">
            <a:solidFill>
              <a:srgbClr val="333353"/>
            </a:solidFill>
            <a:miter lim="800000"/>
            <a:headEnd/>
            <a:tailEnd/>
          </a:ln>
        </p:spPr>
      </p:cxnSp>
      <p:cxnSp>
        <p:nvCxnSpPr>
          <p:cNvPr id="23" name="Gerader Verbinder 22">
            <a:extLst>
              <a:ext uri="{FF2B5EF4-FFF2-40B4-BE49-F238E27FC236}">
                <a16:creationId xmlns:a16="http://schemas.microsoft.com/office/drawing/2014/main" id="{84ADD15D-4F2C-E2E9-027F-ED66A9917237}"/>
              </a:ext>
            </a:extLst>
          </p:cNvPr>
          <p:cNvCxnSpPr>
            <a:cxnSpLocks/>
          </p:cNvCxnSpPr>
          <p:nvPr/>
        </p:nvCxnSpPr>
        <p:spPr>
          <a:xfrm>
            <a:off x="6121538" y="3884168"/>
            <a:ext cx="284980" cy="0"/>
          </a:xfrm>
          <a:prstGeom prst="line">
            <a:avLst/>
          </a:prstGeom>
          <a:noFill/>
          <a:ln w="9525">
            <a:solidFill>
              <a:srgbClr val="333353"/>
            </a:solidFill>
            <a:miter lim="800000"/>
            <a:headEnd/>
            <a:tailEnd/>
          </a:ln>
        </p:spPr>
      </p:cxnSp>
      <p:cxnSp>
        <p:nvCxnSpPr>
          <p:cNvPr id="24" name="Gerader Verbinder 23">
            <a:extLst>
              <a:ext uri="{FF2B5EF4-FFF2-40B4-BE49-F238E27FC236}">
                <a16:creationId xmlns:a16="http://schemas.microsoft.com/office/drawing/2014/main" id="{ED5FFFF7-7265-334F-E15B-156ACD137E6B}"/>
              </a:ext>
            </a:extLst>
          </p:cNvPr>
          <p:cNvCxnSpPr>
            <a:cxnSpLocks/>
          </p:cNvCxnSpPr>
          <p:nvPr/>
        </p:nvCxnSpPr>
        <p:spPr>
          <a:xfrm>
            <a:off x="6122301" y="2096735"/>
            <a:ext cx="284980" cy="0"/>
          </a:xfrm>
          <a:prstGeom prst="line">
            <a:avLst/>
          </a:prstGeom>
          <a:noFill/>
          <a:ln w="9525">
            <a:solidFill>
              <a:srgbClr val="333353"/>
            </a:solidFill>
            <a:miter lim="800000"/>
            <a:headEnd/>
            <a:tailEnd/>
          </a:ln>
        </p:spPr>
      </p:cxnSp>
      <p:cxnSp>
        <p:nvCxnSpPr>
          <p:cNvPr id="25" name="Gerader Verbinder 24">
            <a:extLst>
              <a:ext uri="{FF2B5EF4-FFF2-40B4-BE49-F238E27FC236}">
                <a16:creationId xmlns:a16="http://schemas.microsoft.com/office/drawing/2014/main" id="{608F562F-60C8-57AD-5582-6FF43CA88E27}"/>
              </a:ext>
            </a:extLst>
          </p:cNvPr>
          <p:cNvCxnSpPr>
            <a:cxnSpLocks/>
          </p:cNvCxnSpPr>
          <p:nvPr/>
        </p:nvCxnSpPr>
        <p:spPr>
          <a:xfrm>
            <a:off x="6121538" y="3288357"/>
            <a:ext cx="284980" cy="0"/>
          </a:xfrm>
          <a:prstGeom prst="line">
            <a:avLst/>
          </a:prstGeom>
          <a:noFill/>
          <a:ln w="9525">
            <a:solidFill>
              <a:srgbClr val="333353"/>
            </a:solidFill>
            <a:miter lim="800000"/>
            <a:headEnd/>
            <a:tailEnd/>
          </a:ln>
        </p:spPr>
      </p:cxnSp>
      <p:cxnSp>
        <p:nvCxnSpPr>
          <p:cNvPr id="26" name="Gerader Verbinder 25">
            <a:extLst>
              <a:ext uri="{FF2B5EF4-FFF2-40B4-BE49-F238E27FC236}">
                <a16:creationId xmlns:a16="http://schemas.microsoft.com/office/drawing/2014/main" id="{D8973D25-639D-C213-4C56-541FF91E638A}"/>
              </a:ext>
            </a:extLst>
          </p:cNvPr>
          <p:cNvCxnSpPr>
            <a:cxnSpLocks/>
          </p:cNvCxnSpPr>
          <p:nvPr/>
        </p:nvCxnSpPr>
        <p:spPr>
          <a:xfrm>
            <a:off x="6121538" y="4479980"/>
            <a:ext cx="284980" cy="0"/>
          </a:xfrm>
          <a:prstGeom prst="line">
            <a:avLst/>
          </a:prstGeom>
          <a:noFill/>
          <a:ln w="9525">
            <a:solidFill>
              <a:srgbClr val="333353"/>
            </a:solidFill>
            <a:miter lim="800000"/>
            <a:headEnd/>
            <a:tailEnd/>
          </a:ln>
        </p:spPr>
      </p:cxnSp>
      <p:cxnSp>
        <p:nvCxnSpPr>
          <p:cNvPr id="27" name="Gerader Verbinder 26">
            <a:extLst>
              <a:ext uri="{FF2B5EF4-FFF2-40B4-BE49-F238E27FC236}">
                <a16:creationId xmlns:a16="http://schemas.microsoft.com/office/drawing/2014/main" id="{E3287C0D-61D0-D65B-52E7-84F54D5BB0B6}"/>
              </a:ext>
            </a:extLst>
          </p:cNvPr>
          <p:cNvCxnSpPr>
            <a:cxnSpLocks/>
          </p:cNvCxnSpPr>
          <p:nvPr/>
        </p:nvCxnSpPr>
        <p:spPr>
          <a:xfrm>
            <a:off x="6122301" y="5075791"/>
            <a:ext cx="284980" cy="0"/>
          </a:xfrm>
          <a:prstGeom prst="line">
            <a:avLst/>
          </a:prstGeom>
          <a:noFill/>
          <a:ln w="9525">
            <a:solidFill>
              <a:srgbClr val="333353"/>
            </a:solidFill>
            <a:miter lim="800000"/>
            <a:headEnd/>
            <a:tailEnd/>
          </a:ln>
        </p:spPr>
      </p:cxnSp>
      <p:sp>
        <p:nvSpPr>
          <p:cNvPr id="31" name="Foliennummernplatzhalter 30">
            <a:extLst>
              <a:ext uri="{FF2B5EF4-FFF2-40B4-BE49-F238E27FC236}">
                <a16:creationId xmlns:a16="http://schemas.microsoft.com/office/drawing/2014/main" id="{B2FDEB05-2D63-3D85-4E2A-7DBEC9353981}"/>
              </a:ext>
            </a:extLst>
          </p:cNvPr>
          <p:cNvSpPr>
            <a:spLocks noGrp="1"/>
          </p:cNvSpPr>
          <p:nvPr>
            <p:ph type="sldNum" sz="quarter" idx="4294967295"/>
          </p:nvPr>
        </p:nvSpPr>
        <p:spPr>
          <a:xfrm>
            <a:off x="2930264" y="6560219"/>
            <a:ext cx="648000" cy="227700"/>
          </a:xfrm>
          <a:prstGeom prst="rect">
            <a:avLst/>
          </a:prstGeom>
        </p:spPr>
        <p:txBody>
          <a:bodyPr/>
          <a:lstStyle/>
          <a:p>
            <a:r>
              <a:rPr lang="en-US"/>
              <a:t>Page </a:t>
            </a:r>
            <a:fld id="{15EBE321-CBB1-4E91-BD14-37C8D44326FB}" type="slidenum">
              <a:rPr lang="en-US" smtClean="0"/>
              <a:pPr/>
              <a:t>2</a:t>
            </a:fld>
            <a:endParaRPr lang="en-US"/>
          </a:p>
        </p:txBody>
      </p:sp>
      <p:sp>
        <p:nvSpPr>
          <p:cNvPr id="55" name="Freihandform: Form 54">
            <a:extLst>
              <a:ext uri="{FF2B5EF4-FFF2-40B4-BE49-F238E27FC236}">
                <a16:creationId xmlns:a16="http://schemas.microsoft.com/office/drawing/2014/main" id="{7F16E86C-CC25-9761-86CA-FF6FDE982864}"/>
              </a:ext>
            </a:extLst>
          </p:cNvPr>
          <p:cNvSpPr/>
          <p:nvPr/>
        </p:nvSpPr>
        <p:spPr>
          <a:xfrm>
            <a:off x="3025514" y="4645835"/>
            <a:ext cx="984511" cy="1028229"/>
          </a:xfrm>
          <a:custGeom>
            <a:avLst/>
            <a:gdLst>
              <a:gd name="connsiteX0" fmla="*/ 623599 w 684471"/>
              <a:gd name="connsiteY0" fmla="*/ 380249 h 714865"/>
              <a:gd name="connsiteX1" fmla="*/ 654048 w 684471"/>
              <a:gd name="connsiteY1" fmla="*/ 410671 h 714865"/>
              <a:gd name="connsiteX2" fmla="*/ 623626 w 684471"/>
              <a:gd name="connsiteY2" fmla="*/ 441093 h 714865"/>
              <a:gd name="connsiteX3" fmla="*/ 597309 w 684471"/>
              <a:gd name="connsiteY3" fmla="*/ 425882 h 714865"/>
              <a:gd name="connsiteX4" fmla="*/ 508242 w 684471"/>
              <a:gd name="connsiteY4" fmla="*/ 425882 h 714865"/>
              <a:gd name="connsiteX5" fmla="*/ 471515 w 684471"/>
              <a:gd name="connsiteY5" fmla="*/ 462609 h 714865"/>
              <a:gd name="connsiteX6" fmla="*/ 471515 w 684471"/>
              <a:gd name="connsiteY6" fmla="*/ 658126 h 714865"/>
              <a:gd name="connsiteX7" fmla="*/ 486727 w 684471"/>
              <a:gd name="connsiteY7" fmla="*/ 684443 h 714865"/>
              <a:gd name="connsiteX8" fmla="*/ 456304 w 684471"/>
              <a:gd name="connsiteY8" fmla="*/ 714865 h 714865"/>
              <a:gd name="connsiteX9" fmla="*/ 425882 w 684471"/>
              <a:gd name="connsiteY9" fmla="*/ 684443 h 714865"/>
              <a:gd name="connsiteX10" fmla="*/ 441093 w 684471"/>
              <a:gd name="connsiteY10" fmla="*/ 658126 h 714865"/>
              <a:gd name="connsiteX11" fmla="*/ 441093 w 684471"/>
              <a:gd name="connsiteY11" fmla="*/ 450000 h 714865"/>
              <a:gd name="connsiteX12" fmla="*/ 495633 w 684471"/>
              <a:gd name="connsiteY12" fmla="*/ 395460 h 714865"/>
              <a:gd name="connsiteX13" fmla="*/ 597282 w 684471"/>
              <a:gd name="connsiteY13" fmla="*/ 395460 h 714865"/>
              <a:gd name="connsiteX14" fmla="*/ 623599 w 684471"/>
              <a:gd name="connsiteY14" fmla="*/ 380249 h 714865"/>
              <a:gd name="connsiteX15" fmla="*/ 273772 w 684471"/>
              <a:gd name="connsiteY15" fmla="*/ 380222 h 714865"/>
              <a:gd name="connsiteX16" fmla="*/ 300090 w 684471"/>
              <a:gd name="connsiteY16" fmla="*/ 395433 h 714865"/>
              <a:gd name="connsiteX17" fmla="*/ 325710 w 684471"/>
              <a:gd name="connsiteY17" fmla="*/ 395433 h 714865"/>
              <a:gd name="connsiteX18" fmla="*/ 380249 w 684471"/>
              <a:gd name="connsiteY18" fmla="*/ 449973 h 714865"/>
              <a:gd name="connsiteX19" fmla="*/ 380249 w 684471"/>
              <a:gd name="connsiteY19" fmla="*/ 658099 h 714865"/>
              <a:gd name="connsiteX20" fmla="*/ 395461 w 684471"/>
              <a:gd name="connsiteY20" fmla="*/ 684416 h 714865"/>
              <a:gd name="connsiteX21" fmla="*/ 365038 w 684471"/>
              <a:gd name="connsiteY21" fmla="*/ 714838 h 714865"/>
              <a:gd name="connsiteX22" fmla="*/ 334616 w 684471"/>
              <a:gd name="connsiteY22" fmla="*/ 684416 h 714865"/>
              <a:gd name="connsiteX23" fmla="*/ 349828 w 684471"/>
              <a:gd name="connsiteY23" fmla="*/ 658099 h 714865"/>
              <a:gd name="connsiteX24" fmla="*/ 349828 w 684471"/>
              <a:gd name="connsiteY24" fmla="*/ 462582 h 714865"/>
              <a:gd name="connsiteX25" fmla="*/ 313101 w 684471"/>
              <a:gd name="connsiteY25" fmla="*/ 425855 h 714865"/>
              <a:gd name="connsiteX26" fmla="*/ 300090 w 684471"/>
              <a:gd name="connsiteY26" fmla="*/ 425855 h 714865"/>
              <a:gd name="connsiteX27" fmla="*/ 273772 w 684471"/>
              <a:gd name="connsiteY27" fmla="*/ 441066 h 714865"/>
              <a:gd name="connsiteX28" fmla="*/ 243350 w 684471"/>
              <a:gd name="connsiteY28" fmla="*/ 410644 h 714865"/>
              <a:gd name="connsiteX29" fmla="*/ 273772 w 684471"/>
              <a:gd name="connsiteY29" fmla="*/ 380222 h 714865"/>
              <a:gd name="connsiteX30" fmla="*/ 654022 w 684471"/>
              <a:gd name="connsiteY30" fmla="*/ 304194 h 714865"/>
              <a:gd name="connsiteX31" fmla="*/ 684471 w 684471"/>
              <a:gd name="connsiteY31" fmla="*/ 334643 h 714865"/>
              <a:gd name="connsiteX32" fmla="*/ 654049 w 684471"/>
              <a:gd name="connsiteY32" fmla="*/ 365065 h 714865"/>
              <a:gd name="connsiteX33" fmla="*/ 627731 w 684471"/>
              <a:gd name="connsiteY33" fmla="*/ 349854 h 714865"/>
              <a:gd name="connsiteX34" fmla="*/ 508243 w 684471"/>
              <a:gd name="connsiteY34" fmla="*/ 349854 h 714865"/>
              <a:gd name="connsiteX35" fmla="*/ 410672 w 684471"/>
              <a:gd name="connsiteY35" fmla="*/ 447398 h 714865"/>
              <a:gd name="connsiteX36" fmla="*/ 328339 w 684471"/>
              <a:gd name="connsiteY36" fmla="*/ 365038 h 714865"/>
              <a:gd name="connsiteX37" fmla="*/ 208851 w 684471"/>
              <a:gd name="connsiteY37" fmla="*/ 365038 h 714865"/>
              <a:gd name="connsiteX38" fmla="*/ 182533 w 684471"/>
              <a:gd name="connsiteY38" fmla="*/ 380249 h 714865"/>
              <a:gd name="connsiteX39" fmla="*/ 152111 w 684471"/>
              <a:gd name="connsiteY39" fmla="*/ 349827 h 714865"/>
              <a:gd name="connsiteX40" fmla="*/ 182533 w 684471"/>
              <a:gd name="connsiteY40" fmla="*/ 319405 h 714865"/>
              <a:gd name="connsiteX41" fmla="*/ 208851 w 684471"/>
              <a:gd name="connsiteY41" fmla="*/ 334616 h 714865"/>
              <a:gd name="connsiteX42" fmla="*/ 340921 w 684471"/>
              <a:gd name="connsiteY42" fmla="*/ 334616 h 714865"/>
              <a:gd name="connsiteX43" fmla="*/ 410672 w 684471"/>
              <a:gd name="connsiteY43" fmla="*/ 404367 h 714865"/>
              <a:gd name="connsiteX44" fmla="*/ 495634 w 684471"/>
              <a:gd name="connsiteY44" fmla="*/ 319405 h 714865"/>
              <a:gd name="connsiteX45" fmla="*/ 627704 w 684471"/>
              <a:gd name="connsiteY45" fmla="*/ 319405 h 714865"/>
              <a:gd name="connsiteX46" fmla="*/ 654022 w 684471"/>
              <a:gd name="connsiteY46" fmla="*/ 304194 h 714865"/>
              <a:gd name="connsiteX47" fmla="*/ 15211 w 684471"/>
              <a:gd name="connsiteY47" fmla="*/ 212954 h 714865"/>
              <a:gd name="connsiteX48" fmla="*/ 30422 w 684471"/>
              <a:gd name="connsiteY48" fmla="*/ 228165 h 714865"/>
              <a:gd name="connsiteX49" fmla="*/ 30422 w 684471"/>
              <a:gd name="connsiteY49" fmla="*/ 273798 h 714865"/>
              <a:gd name="connsiteX50" fmla="*/ 15211 w 684471"/>
              <a:gd name="connsiteY50" fmla="*/ 289009 h 714865"/>
              <a:gd name="connsiteX51" fmla="*/ 0 w 684471"/>
              <a:gd name="connsiteY51" fmla="*/ 273798 h 714865"/>
              <a:gd name="connsiteX52" fmla="*/ 0 w 684471"/>
              <a:gd name="connsiteY52" fmla="*/ 228165 h 714865"/>
              <a:gd name="connsiteX53" fmla="*/ 15211 w 684471"/>
              <a:gd name="connsiteY53" fmla="*/ 212954 h 714865"/>
              <a:gd name="connsiteX54" fmla="*/ 638811 w 684471"/>
              <a:gd name="connsiteY54" fmla="*/ 212927 h 714865"/>
              <a:gd name="connsiteX55" fmla="*/ 669152 w 684471"/>
              <a:gd name="connsiteY55" fmla="*/ 241766 h 714865"/>
              <a:gd name="connsiteX56" fmla="*/ 669233 w 684471"/>
              <a:gd name="connsiteY56" fmla="*/ 243349 h 714865"/>
              <a:gd name="connsiteX57" fmla="*/ 669152 w 684471"/>
              <a:gd name="connsiteY57" fmla="*/ 244932 h 714865"/>
              <a:gd name="connsiteX58" fmla="*/ 638811 w 684471"/>
              <a:gd name="connsiteY58" fmla="*/ 273771 h 714865"/>
              <a:gd name="connsiteX59" fmla="*/ 612493 w 684471"/>
              <a:gd name="connsiteY59" fmla="*/ 258560 h 714865"/>
              <a:gd name="connsiteX60" fmla="*/ 599482 w 684471"/>
              <a:gd name="connsiteY60" fmla="*/ 258560 h 714865"/>
              <a:gd name="connsiteX61" fmla="*/ 569060 w 684471"/>
              <a:gd name="connsiteY61" fmla="*/ 288982 h 714865"/>
              <a:gd name="connsiteX62" fmla="*/ 517122 w 684471"/>
              <a:gd name="connsiteY62" fmla="*/ 288982 h 714865"/>
              <a:gd name="connsiteX63" fmla="*/ 501911 w 684471"/>
              <a:gd name="connsiteY63" fmla="*/ 273771 h 714865"/>
              <a:gd name="connsiteX64" fmla="*/ 517122 w 684471"/>
              <a:gd name="connsiteY64" fmla="*/ 258560 h 714865"/>
              <a:gd name="connsiteX65" fmla="*/ 556451 w 684471"/>
              <a:gd name="connsiteY65" fmla="*/ 258560 h 714865"/>
              <a:gd name="connsiteX66" fmla="*/ 586873 w 684471"/>
              <a:gd name="connsiteY66" fmla="*/ 228138 h 714865"/>
              <a:gd name="connsiteX67" fmla="*/ 612493 w 684471"/>
              <a:gd name="connsiteY67" fmla="*/ 228138 h 714865"/>
              <a:gd name="connsiteX68" fmla="*/ 638811 w 684471"/>
              <a:gd name="connsiteY68" fmla="*/ 212927 h 714865"/>
              <a:gd name="connsiteX69" fmla="*/ 76055 w 684471"/>
              <a:gd name="connsiteY69" fmla="*/ 182505 h 714865"/>
              <a:gd name="connsiteX70" fmla="*/ 91266 w 684471"/>
              <a:gd name="connsiteY70" fmla="*/ 197716 h 714865"/>
              <a:gd name="connsiteX71" fmla="*/ 91266 w 684471"/>
              <a:gd name="connsiteY71" fmla="*/ 297889 h 714865"/>
              <a:gd name="connsiteX72" fmla="*/ 117235 w 684471"/>
              <a:gd name="connsiteY72" fmla="*/ 323831 h 714865"/>
              <a:gd name="connsiteX73" fmla="*/ 117235 w 684471"/>
              <a:gd name="connsiteY73" fmla="*/ 345346 h 714865"/>
              <a:gd name="connsiteX74" fmla="*/ 106477 w 684471"/>
              <a:gd name="connsiteY74" fmla="*/ 349800 h 714865"/>
              <a:gd name="connsiteX75" fmla="*/ 95719 w 684471"/>
              <a:gd name="connsiteY75" fmla="*/ 345346 h 714865"/>
              <a:gd name="connsiteX76" fmla="*/ 60844 w 684471"/>
              <a:gd name="connsiteY76" fmla="*/ 310471 h 714865"/>
              <a:gd name="connsiteX77" fmla="*/ 60844 w 684471"/>
              <a:gd name="connsiteY77" fmla="*/ 197716 h 714865"/>
              <a:gd name="connsiteX78" fmla="*/ 76055 w 684471"/>
              <a:gd name="connsiteY78" fmla="*/ 182505 h 714865"/>
              <a:gd name="connsiteX79" fmla="*/ 593177 w 684471"/>
              <a:gd name="connsiteY79" fmla="*/ 121688 h 714865"/>
              <a:gd name="connsiteX80" fmla="*/ 608388 w 684471"/>
              <a:gd name="connsiteY80" fmla="*/ 136899 h 714865"/>
              <a:gd name="connsiteX81" fmla="*/ 608388 w 684471"/>
              <a:gd name="connsiteY81" fmla="*/ 173626 h 714865"/>
              <a:gd name="connsiteX82" fmla="*/ 558302 w 684471"/>
              <a:gd name="connsiteY82" fmla="*/ 223712 h 714865"/>
              <a:gd name="connsiteX83" fmla="*/ 547544 w 684471"/>
              <a:gd name="connsiteY83" fmla="*/ 228165 h 714865"/>
              <a:gd name="connsiteX84" fmla="*/ 536787 w 684471"/>
              <a:gd name="connsiteY84" fmla="*/ 223712 h 714865"/>
              <a:gd name="connsiteX85" fmla="*/ 536787 w 684471"/>
              <a:gd name="connsiteY85" fmla="*/ 202197 h 714865"/>
              <a:gd name="connsiteX86" fmla="*/ 577967 w 684471"/>
              <a:gd name="connsiteY86" fmla="*/ 161017 h 714865"/>
              <a:gd name="connsiteX87" fmla="*/ 577967 w 684471"/>
              <a:gd name="connsiteY87" fmla="*/ 136899 h 714865"/>
              <a:gd name="connsiteX88" fmla="*/ 593177 w 684471"/>
              <a:gd name="connsiteY88" fmla="*/ 121688 h 714865"/>
              <a:gd name="connsiteX89" fmla="*/ 532334 w 684471"/>
              <a:gd name="connsiteY89" fmla="*/ 45633 h 714865"/>
              <a:gd name="connsiteX90" fmla="*/ 562756 w 684471"/>
              <a:gd name="connsiteY90" fmla="*/ 76055 h 714865"/>
              <a:gd name="connsiteX91" fmla="*/ 547545 w 684471"/>
              <a:gd name="connsiteY91" fmla="*/ 102373 h 714865"/>
              <a:gd name="connsiteX92" fmla="*/ 547545 w 684471"/>
              <a:gd name="connsiteY92" fmla="*/ 158415 h 714865"/>
              <a:gd name="connsiteX93" fmla="*/ 456278 w 684471"/>
              <a:gd name="connsiteY93" fmla="*/ 249681 h 714865"/>
              <a:gd name="connsiteX94" fmla="*/ 456278 w 684471"/>
              <a:gd name="connsiteY94" fmla="*/ 267494 h 714865"/>
              <a:gd name="connsiteX95" fmla="*/ 482247 w 684471"/>
              <a:gd name="connsiteY95" fmla="*/ 293463 h 714865"/>
              <a:gd name="connsiteX96" fmla="*/ 482247 w 684471"/>
              <a:gd name="connsiteY96" fmla="*/ 314978 h 714865"/>
              <a:gd name="connsiteX97" fmla="*/ 471489 w 684471"/>
              <a:gd name="connsiteY97" fmla="*/ 319432 h 714865"/>
              <a:gd name="connsiteX98" fmla="*/ 460731 w 684471"/>
              <a:gd name="connsiteY98" fmla="*/ 314978 h 714865"/>
              <a:gd name="connsiteX99" fmla="*/ 425856 w 684471"/>
              <a:gd name="connsiteY99" fmla="*/ 280103 h 714865"/>
              <a:gd name="connsiteX100" fmla="*/ 425856 w 684471"/>
              <a:gd name="connsiteY100" fmla="*/ 237072 h 714865"/>
              <a:gd name="connsiteX101" fmla="*/ 517122 w 684471"/>
              <a:gd name="connsiteY101" fmla="*/ 145806 h 714865"/>
              <a:gd name="connsiteX102" fmla="*/ 517122 w 684471"/>
              <a:gd name="connsiteY102" fmla="*/ 102373 h 714865"/>
              <a:gd name="connsiteX103" fmla="*/ 501912 w 684471"/>
              <a:gd name="connsiteY103" fmla="*/ 76055 h 714865"/>
              <a:gd name="connsiteX104" fmla="*/ 532334 w 684471"/>
              <a:gd name="connsiteY104" fmla="*/ 45633 h 714865"/>
              <a:gd name="connsiteX105" fmla="*/ 136899 w 684471"/>
              <a:gd name="connsiteY105" fmla="*/ 45633 h 714865"/>
              <a:gd name="connsiteX106" fmla="*/ 167321 w 684471"/>
              <a:gd name="connsiteY106" fmla="*/ 76055 h 714865"/>
              <a:gd name="connsiteX107" fmla="*/ 136899 w 684471"/>
              <a:gd name="connsiteY107" fmla="*/ 106477 h 714865"/>
              <a:gd name="connsiteX108" fmla="*/ 129039 w 684471"/>
              <a:gd name="connsiteY108" fmla="*/ 105431 h 714865"/>
              <a:gd name="connsiteX109" fmla="*/ 120615 w 684471"/>
              <a:gd name="connsiteY109" fmla="*/ 113828 h 714865"/>
              <a:gd name="connsiteX110" fmla="*/ 121688 w 684471"/>
              <a:gd name="connsiteY110" fmla="*/ 121688 h 714865"/>
              <a:gd name="connsiteX111" fmla="*/ 91266 w 684471"/>
              <a:gd name="connsiteY111" fmla="*/ 152110 h 714865"/>
              <a:gd name="connsiteX112" fmla="*/ 60817 w 684471"/>
              <a:gd name="connsiteY112" fmla="*/ 121688 h 714865"/>
              <a:gd name="connsiteX113" fmla="*/ 91239 w 684471"/>
              <a:gd name="connsiteY113" fmla="*/ 91266 h 714865"/>
              <a:gd name="connsiteX114" fmla="*/ 99100 w 684471"/>
              <a:gd name="connsiteY114" fmla="*/ 92312 h 714865"/>
              <a:gd name="connsiteX115" fmla="*/ 107523 w 684471"/>
              <a:gd name="connsiteY115" fmla="*/ 83889 h 714865"/>
              <a:gd name="connsiteX116" fmla="*/ 106477 w 684471"/>
              <a:gd name="connsiteY116" fmla="*/ 76055 h 714865"/>
              <a:gd name="connsiteX117" fmla="*/ 136899 w 684471"/>
              <a:gd name="connsiteY117" fmla="*/ 45633 h 714865"/>
              <a:gd name="connsiteX118" fmla="*/ 456304 w 684471"/>
              <a:gd name="connsiteY118" fmla="*/ 30422 h 714865"/>
              <a:gd name="connsiteX119" fmla="*/ 471515 w 684471"/>
              <a:gd name="connsiteY119" fmla="*/ 45633 h 714865"/>
              <a:gd name="connsiteX120" fmla="*/ 471515 w 684471"/>
              <a:gd name="connsiteY120" fmla="*/ 143177 h 714865"/>
              <a:gd name="connsiteX121" fmla="*/ 395460 w 684471"/>
              <a:gd name="connsiteY121" fmla="*/ 219232 h 714865"/>
              <a:gd name="connsiteX122" fmla="*/ 395460 w 684471"/>
              <a:gd name="connsiteY122" fmla="*/ 297890 h 714865"/>
              <a:gd name="connsiteX123" fmla="*/ 421429 w 684471"/>
              <a:gd name="connsiteY123" fmla="*/ 323858 h 714865"/>
              <a:gd name="connsiteX124" fmla="*/ 421429 w 684471"/>
              <a:gd name="connsiteY124" fmla="*/ 345374 h 714865"/>
              <a:gd name="connsiteX125" fmla="*/ 410671 w 684471"/>
              <a:gd name="connsiteY125" fmla="*/ 349827 h 714865"/>
              <a:gd name="connsiteX126" fmla="*/ 399913 w 684471"/>
              <a:gd name="connsiteY126" fmla="*/ 345374 h 714865"/>
              <a:gd name="connsiteX127" fmla="*/ 365038 w 684471"/>
              <a:gd name="connsiteY127" fmla="*/ 310499 h 714865"/>
              <a:gd name="connsiteX128" fmla="*/ 365038 w 684471"/>
              <a:gd name="connsiteY128" fmla="*/ 206650 h 714865"/>
              <a:gd name="connsiteX129" fmla="*/ 441094 w 684471"/>
              <a:gd name="connsiteY129" fmla="*/ 130595 h 714865"/>
              <a:gd name="connsiteX130" fmla="*/ 441094 w 684471"/>
              <a:gd name="connsiteY130" fmla="*/ 45633 h 714865"/>
              <a:gd name="connsiteX131" fmla="*/ 456304 w 684471"/>
              <a:gd name="connsiteY131" fmla="*/ 30422 h 714865"/>
              <a:gd name="connsiteX132" fmla="*/ 212955 w 684471"/>
              <a:gd name="connsiteY132" fmla="*/ 30395 h 714865"/>
              <a:gd name="connsiteX133" fmla="*/ 228166 w 684471"/>
              <a:gd name="connsiteY133" fmla="*/ 45606 h 714865"/>
              <a:gd name="connsiteX134" fmla="*/ 228166 w 684471"/>
              <a:gd name="connsiteY134" fmla="*/ 97544 h 714865"/>
              <a:gd name="connsiteX135" fmla="*/ 152111 w 684471"/>
              <a:gd name="connsiteY135" fmla="*/ 173599 h 714865"/>
              <a:gd name="connsiteX136" fmla="*/ 152111 w 684471"/>
              <a:gd name="connsiteY136" fmla="*/ 224544 h 714865"/>
              <a:gd name="connsiteX137" fmla="*/ 162439 w 684471"/>
              <a:gd name="connsiteY137" fmla="*/ 245174 h 714865"/>
              <a:gd name="connsiteX138" fmla="*/ 182533 w 684471"/>
              <a:gd name="connsiteY138" fmla="*/ 273772 h 714865"/>
              <a:gd name="connsiteX139" fmla="*/ 152111 w 684471"/>
              <a:gd name="connsiteY139" fmla="*/ 304167 h 714865"/>
              <a:gd name="connsiteX140" fmla="*/ 121689 w 684471"/>
              <a:gd name="connsiteY140" fmla="*/ 273745 h 714865"/>
              <a:gd name="connsiteX141" fmla="*/ 131535 w 684471"/>
              <a:gd name="connsiteY141" fmla="*/ 251398 h 714865"/>
              <a:gd name="connsiteX142" fmla="*/ 121689 w 684471"/>
              <a:gd name="connsiteY142" fmla="*/ 231707 h 714865"/>
              <a:gd name="connsiteX143" fmla="*/ 121689 w 684471"/>
              <a:gd name="connsiteY143" fmla="*/ 160990 h 714865"/>
              <a:gd name="connsiteX144" fmla="*/ 197744 w 684471"/>
              <a:gd name="connsiteY144" fmla="*/ 84935 h 714865"/>
              <a:gd name="connsiteX145" fmla="*/ 197744 w 684471"/>
              <a:gd name="connsiteY145" fmla="*/ 45606 h 714865"/>
              <a:gd name="connsiteX146" fmla="*/ 212955 w 684471"/>
              <a:gd name="connsiteY146" fmla="*/ 30395 h 714865"/>
              <a:gd name="connsiteX147" fmla="*/ 288984 w 684471"/>
              <a:gd name="connsiteY147" fmla="*/ 15211 h 714865"/>
              <a:gd name="connsiteX148" fmla="*/ 319405 w 684471"/>
              <a:gd name="connsiteY148" fmla="*/ 45633 h 714865"/>
              <a:gd name="connsiteX149" fmla="*/ 304194 w 684471"/>
              <a:gd name="connsiteY149" fmla="*/ 71951 h 714865"/>
              <a:gd name="connsiteX150" fmla="*/ 304194 w 684471"/>
              <a:gd name="connsiteY150" fmla="*/ 112782 h 714865"/>
              <a:gd name="connsiteX151" fmla="*/ 243350 w 684471"/>
              <a:gd name="connsiteY151" fmla="*/ 173626 h 714865"/>
              <a:gd name="connsiteX152" fmla="*/ 243350 w 684471"/>
              <a:gd name="connsiteY152" fmla="*/ 288983 h 714865"/>
              <a:gd name="connsiteX153" fmla="*/ 228139 w 684471"/>
              <a:gd name="connsiteY153" fmla="*/ 304194 h 714865"/>
              <a:gd name="connsiteX154" fmla="*/ 212928 w 684471"/>
              <a:gd name="connsiteY154" fmla="*/ 288983 h 714865"/>
              <a:gd name="connsiteX155" fmla="*/ 212928 w 684471"/>
              <a:gd name="connsiteY155" fmla="*/ 161017 h 714865"/>
              <a:gd name="connsiteX156" fmla="*/ 273772 w 684471"/>
              <a:gd name="connsiteY156" fmla="*/ 100173 h 714865"/>
              <a:gd name="connsiteX157" fmla="*/ 273772 w 684471"/>
              <a:gd name="connsiteY157" fmla="*/ 71951 h 714865"/>
              <a:gd name="connsiteX158" fmla="*/ 258561 w 684471"/>
              <a:gd name="connsiteY158" fmla="*/ 45633 h 714865"/>
              <a:gd name="connsiteX159" fmla="*/ 288984 w 684471"/>
              <a:gd name="connsiteY159" fmla="*/ 15211 h 714865"/>
              <a:gd name="connsiteX160" fmla="*/ 380249 w 684471"/>
              <a:gd name="connsiteY160" fmla="*/ 0 h 714865"/>
              <a:gd name="connsiteX161" fmla="*/ 410672 w 684471"/>
              <a:gd name="connsiteY161" fmla="*/ 30422 h 714865"/>
              <a:gd name="connsiteX162" fmla="*/ 395461 w 684471"/>
              <a:gd name="connsiteY162" fmla="*/ 56740 h 714865"/>
              <a:gd name="connsiteX163" fmla="*/ 395461 w 684471"/>
              <a:gd name="connsiteY163" fmla="*/ 127993 h 714865"/>
              <a:gd name="connsiteX164" fmla="*/ 319405 w 684471"/>
              <a:gd name="connsiteY164" fmla="*/ 204048 h 714865"/>
              <a:gd name="connsiteX165" fmla="*/ 319405 w 684471"/>
              <a:gd name="connsiteY165" fmla="*/ 247481 h 714865"/>
              <a:gd name="connsiteX166" fmla="*/ 334616 w 684471"/>
              <a:gd name="connsiteY166" fmla="*/ 273799 h 714865"/>
              <a:gd name="connsiteX167" fmla="*/ 304194 w 684471"/>
              <a:gd name="connsiteY167" fmla="*/ 304221 h 714865"/>
              <a:gd name="connsiteX168" fmla="*/ 273772 w 684471"/>
              <a:gd name="connsiteY168" fmla="*/ 273799 h 714865"/>
              <a:gd name="connsiteX169" fmla="*/ 288983 w 684471"/>
              <a:gd name="connsiteY169" fmla="*/ 247481 h 714865"/>
              <a:gd name="connsiteX170" fmla="*/ 288983 w 684471"/>
              <a:gd name="connsiteY170" fmla="*/ 191439 h 714865"/>
              <a:gd name="connsiteX171" fmla="*/ 365038 w 684471"/>
              <a:gd name="connsiteY171" fmla="*/ 115384 h 714865"/>
              <a:gd name="connsiteX172" fmla="*/ 365038 w 684471"/>
              <a:gd name="connsiteY172" fmla="*/ 56740 h 714865"/>
              <a:gd name="connsiteX173" fmla="*/ 349828 w 684471"/>
              <a:gd name="connsiteY173" fmla="*/ 30422 h 714865"/>
              <a:gd name="connsiteX174" fmla="*/ 380249 w 684471"/>
              <a:gd name="connsiteY174" fmla="*/ 0 h 71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684471" h="714865">
                <a:moveTo>
                  <a:pt x="623599" y="380249"/>
                </a:moveTo>
                <a:cubicBezTo>
                  <a:pt x="640393" y="380249"/>
                  <a:pt x="654021" y="393850"/>
                  <a:pt x="654048" y="410671"/>
                </a:cubicBezTo>
                <a:cubicBezTo>
                  <a:pt x="654048" y="427465"/>
                  <a:pt x="640420" y="441093"/>
                  <a:pt x="623626" y="441093"/>
                </a:cubicBezTo>
                <a:cubicBezTo>
                  <a:pt x="612358" y="441093"/>
                  <a:pt x="602567" y="434977"/>
                  <a:pt x="597309" y="425882"/>
                </a:cubicBezTo>
                <a:lnTo>
                  <a:pt x="508242" y="425882"/>
                </a:lnTo>
                <a:lnTo>
                  <a:pt x="471515" y="462609"/>
                </a:lnTo>
                <a:lnTo>
                  <a:pt x="471515" y="658126"/>
                </a:lnTo>
                <a:cubicBezTo>
                  <a:pt x="480610" y="663384"/>
                  <a:pt x="486727" y="673203"/>
                  <a:pt x="486727" y="684443"/>
                </a:cubicBezTo>
                <a:cubicBezTo>
                  <a:pt x="486727" y="701237"/>
                  <a:pt x="473098" y="714865"/>
                  <a:pt x="456304" y="714865"/>
                </a:cubicBezTo>
                <a:cubicBezTo>
                  <a:pt x="439510" y="714865"/>
                  <a:pt x="425882" y="701237"/>
                  <a:pt x="425882" y="684443"/>
                </a:cubicBezTo>
                <a:cubicBezTo>
                  <a:pt x="425882" y="673176"/>
                  <a:pt x="431999" y="663384"/>
                  <a:pt x="441093" y="658126"/>
                </a:cubicBezTo>
                <a:lnTo>
                  <a:pt x="441093" y="450000"/>
                </a:lnTo>
                <a:lnTo>
                  <a:pt x="495633" y="395460"/>
                </a:lnTo>
                <a:lnTo>
                  <a:pt x="597282" y="395460"/>
                </a:lnTo>
                <a:cubicBezTo>
                  <a:pt x="602540" y="386366"/>
                  <a:pt x="612358" y="380249"/>
                  <a:pt x="623599" y="380249"/>
                </a:cubicBezTo>
                <a:close/>
                <a:moveTo>
                  <a:pt x="273772" y="380222"/>
                </a:moveTo>
                <a:cubicBezTo>
                  <a:pt x="285039" y="380222"/>
                  <a:pt x="294832" y="386339"/>
                  <a:pt x="300090" y="395433"/>
                </a:cubicBezTo>
                <a:lnTo>
                  <a:pt x="325710" y="395433"/>
                </a:lnTo>
                <a:lnTo>
                  <a:pt x="380249" y="449973"/>
                </a:lnTo>
                <a:lnTo>
                  <a:pt x="380249" y="658099"/>
                </a:lnTo>
                <a:cubicBezTo>
                  <a:pt x="389317" y="663384"/>
                  <a:pt x="395461" y="673176"/>
                  <a:pt x="395461" y="684416"/>
                </a:cubicBezTo>
                <a:cubicBezTo>
                  <a:pt x="395461" y="701210"/>
                  <a:pt x="381832" y="714838"/>
                  <a:pt x="365038" y="714838"/>
                </a:cubicBezTo>
                <a:cubicBezTo>
                  <a:pt x="348244" y="714838"/>
                  <a:pt x="334616" y="701210"/>
                  <a:pt x="334616" y="684416"/>
                </a:cubicBezTo>
                <a:cubicBezTo>
                  <a:pt x="334616" y="673149"/>
                  <a:pt x="340733" y="663357"/>
                  <a:pt x="349828" y="658099"/>
                </a:cubicBezTo>
                <a:lnTo>
                  <a:pt x="349828" y="462582"/>
                </a:lnTo>
                <a:lnTo>
                  <a:pt x="313101" y="425855"/>
                </a:lnTo>
                <a:lnTo>
                  <a:pt x="300090" y="425855"/>
                </a:lnTo>
                <a:cubicBezTo>
                  <a:pt x="294832" y="434950"/>
                  <a:pt x="285012" y="441066"/>
                  <a:pt x="273772" y="441066"/>
                </a:cubicBezTo>
                <a:cubicBezTo>
                  <a:pt x="256978" y="441066"/>
                  <a:pt x="243350" y="427438"/>
                  <a:pt x="243350" y="410644"/>
                </a:cubicBezTo>
                <a:cubicBezTo>
                  <a:pt x="243350" y="393850"/>
                  <a:pt x="256978" y="380222"/>
                  <a:pt x="273772" y="380222"/>
                </a:cubicBezTo>
                <a:close/>
                <a:moveTo>
                  <a:pt x="654022" y="304194"/>
                </a:moveTo>
                <a:cubicBezTo>
                  <a:pt x="670816" y="304194"/>
                  <a:pt x="684471" y="317849"/>
                  <a:pt x="684471" y="334643"/>
                </a:cubicBezTo>
                <a:cubicBezTo>
                  <a:pt x="684471" y="351437"/>
                  <a:pt x="670843" y="365065"/>
                  <a:pt x="654049" y="365065"/>
                </a:cubicBezTo>
                <a:cubicBezTo>
                  <a:pt x="642781" y="365065"/>
                  <a:pt x="632990" y="358948"/>
                  <a:pt x="627731" y="349854"/>
                </a:cubicBezTo>
                <a:lnTo>
                  <a:pt x="508243" y="349854"/>
                </a:lnTo>
                <a:lnTo>
                  <a:pt x="410672" y="447398"/>
                </a:lnTo>
                <a:lnTo>
                  <a:pt x="328339" y="365038"/>
                </a:lnTo>
                <a:lnTo>
                  <a:pt x="208851" y="365038"/>
                </a:lnTo>
                <a:cubicBezTo>
                  <a:pt x="203593" y="374132"/>
                  <a:pt x="193774" y="380249"/>
                  <a:pt x="182533" y="380249"/>
                </a:cubicBezTo>
                <a:cubicBezTo>
                  <a:pt x="165739" y="380249"/>
                  <a:pt x="152111" y="366621"/>
                  <a:pt x="152111" y="349827"/>
                </a:cubicBezTo>
                <a:cubicBezTo>
                  <a:pt x="152111" y="333033"/>
                  <a:pt x="165739" y="319405"/>
                  <a:pt x="182533" y="319405"/>
                </a:cubicBezTo>
                <a:cubicBezTo>
                  <a:pt x="193801" y="319405"/>
                  <a:pt x="203593" y="325522"/>
                  <a:pt x="208851" y="334616"/>
                </a:cubicBezTo>
                <a:lnTo>
                  <a:pt x="340921" y="334616"/>
                </a:lnTo>
                <a:lnTo>
                  <a:pt x="410672" y="404367"/>
                </a:lnTo>
                <a:lnTo>
                  <a:pt x="495634" y="319405"/>
                </a:lnTo>
                <a:lnTo>
                  <a:pt x="627704" y="319405"/>
                </a:lnTo>
                <a:cubicBezTo>
                  <a:pt x="632963" y="310311"/>
                  <a:pt x="642781" y="304194"/>
                  <a:pt x="654022" y="304194"/>
                </a:cubicBezTo>
                <a:close/>
                <a:moveTo>
                  <a:pt x="15211" y="212954"/>
                </a:moveTo>
                <a:cubicBezTo>
                  <a:pt x="23635" y="212954"/>
                  <a:pt x="30422" y="219741"/>
                  <a:pt x="30422" y="228165"/>
                </a:cubicBezTo>
                <a:lnTo>
                  <a:pt x="30422" y="273798"/>
                </a:lnTo>
                <a:cubicBezTo>
                  <a:pt x="30422" y="282195"/>
                  <a:pt x="23608" y="289009"/>
                  <a:pt x="15211" y="289009"/>
                </a:cubicBezTo>
                <a:cubicBezTo>
                  <a:pt x="6814" y="289009"/>
                  <a:pt x="0" y="282195"/>
                  <a:pt x="0" y="273798"/>
                </a:cubicBezTo>
                <a:lnTo>
                  <a:pt x="0" y="228165"/>
                </a:lnTo>
                <a:cubicBezTo>
                  <a:pt x="0" y="219768"/>
                  <a:pt x="6814" y="212954"/>
                  <a:pt x="15211" y="212954"/>
                </a:cubicBezTo>
                <a:close/>
                <a:moveTo>
                  <a:pt x="638811" y="212927"/>
                </a:moveTo>
                <a:cubicBezTo>
                  <a:pt x="655095" y="212927"/>
                  <a:pt x="668321" y="225697"/>
                  <a:pt x="669152" y="241766"/>
                </a:cubicBezTo>
                <a:cubicBezTo>
                  <a:pt x="669206" y="242303"/>
                  <a:pt x="669233" y="242813"/>
                  <a:pt x="669233" y="243349"/>
                </a:cubicBezTo>
                <a:cubicBezTo>
                  <a:pt x="669233" y="243886"/>
                  <a:pt x="669206" y="244422"/>
                  <a:pt x="669152" y="244932"/>
                </a:cubicBezTo>
                <a:cubicBezTo>
                  <a:pt x="668321" y="260975"/>
                  <a:pt x="655068" y="273771"/>
                  <a:pt x="638811" y="273771"/>
                </a:cubicBezTo>
                <a:cubicBezTo>
                  <a:pt x="627543" y="273771"/>
                  <a:pt x="617751" y="267654"/>
                  <a:pt x="612493" y="258560"/>
                </a:cubicBezTo>
                <a:lnTo>
                  <a:pt x="599482" y="258560"/>
                </a:lnTo>
                <a:lnTo>
                  <a:pt x="569060" y="288982"/>
                </a:lnTo>
                <a:lnTo>
                  <a:pt x="517122" y="288982"/>
                </a:lnTo>
                <a:cubicBezTo>
                  <a:pt x="508725" y="288982"/>
                  <a:pt x="501911" y="282168"/>
                  <a:pt x="501911" y="273771"/>
                </a:cubicBezTo>
                <a:cubicBezTo>
                  <a:pt x="501911" y="265374"/>
                  <a:pt x="508725" y="258560"/>
                  <a:pt x="517122" y="258560"/>
                </a:cubicBezTo>
                <a:lnTo>
                  <a:pt x="556451" y="258560"/>
                </a:lnTo>
                <a:lnTo>
                  <a:pt x="586873" y="228138"/>
                </a:lnTo>
                <a:lnTo>
                  <a:pt x="612493" y="228138"/>
                </a:lnTo>
                <a:cubicBezTo>
                  <a:pt x="617751" y="219044"/>
                  <a:pt x="627570" y="212927"/>
                  <a:pt x="638811" y="212927"/>
                </a:cubicBezTo>
                <a:close/>
                <a:moveTo>
                  <a:pt x="76055" y="182505"/>
                </a:moveTo>
                <a:cubicBezTo>
                  <a:pt x="84452" y="182505"/>
                  <a:pt x="91266" y="189319"/>
                  <a:pt x="91266" y="197716"/>
                </a:cubicBezTo>
                <a:lnTo>
                  <a:pt x="91266" y="297889"/>
                </a:lnTo>
                <a:lnTo>
                  <a:pt x="117235" y="323831"/>
                </a:lnTo>
                <a:cubicBezTo>
                  <a:pt x="123164" y="329787"/>
                  <a:pt x="123164" y="339418"/>
                  <a:pt x="117235" y="345346"/>
                </a:cubicBezTo>
                <a:cubicBezTo>
                  <a:pt x="114257" y="348324"/>
                  <a:pt x="110367" y="349800"/>
                  <a:pt x="106477" y="349800"/>
                </a:cubicBezTo>
                <a:cubicBezTo>
                  <a:pt x="102587" y="349800"/>
                  <a:pt x="98697" y="348324"/>
                  <a:pt x="95719" y="345346"/>
                </a:cubicBezTo>
                <a:lnTo>
                  <a:pt x="60844" y="310471"/>
                </a:lnTo>
                <a:lnTo>
                  <a:pt x="60844" y="197716"/>
                </a:lnTo>
                <a:cubicBezTo>
                  <a:pt x="60844" y="189319"/>
                  <a:pt x="67658" y="182505"/>
                  <a:pt x="76055" y="182505"/>
                </a:cubicBezTo>
                <a:close/>
                <a:moveTo>
                  <a:pt x="593177" y="121688"/>
                </a:moveTo>
                <a:cubicBezTo>
                  <a:pt x="601574" y="121688"/>
                  <a:pt x="608388" y="128502"/>
                  <a:pt x="608388" y="136899"/>
                </a:cubicBezTo>
                <a:lnTo>
                  <a:pt x="608388" y="173626"/>
                </a:lnTo>
                <a:lnTo>
                  <a:pt x="558302" y="223712"/>
                </a:lnTo>
                <a:cubicBezTo>
                  <a:pt x="555324" y="226690"/>
                  <a:pt x="551434" y="228165"/>
                  <a:pt x="547544" y="228165"/>
                </a:cubicBezTo>
                <a:cubicBezTo>
                  <a:pt x="543654" y="228165"/>
                  <a:pt x="539765" y="226690"/>
                  <a:pt x="536787" y="223712"/>
                </a:cubicBezTo>
                <a:cubicBezTo>
                  <a:pt x="530858" y="217756"/>
                  <a:pt x="530858" y="208125"/>
                  <a:pt x="536787" y="202197"/>
                </a:cubicBezTo>
                <a:lnTo>
                  <a:pt x="577967" y="161017"/>
                </a:lnTo>
                <a:lnTo>
                  <a:pt x="577967" y="136899"/>
                </a:lnTo>
                <a:cubicBezTo>
                  <a:pt x="577967" y="128502"/>
                  <a:pt x="584780" y="121688"/>
                  <a:pt x="593177" y="121688"/>
                </a:cubicBezTo>
                <a:close/>
                <a:moveTo>
                  <a:pt x="532334" y="45633"/>
                </a:moveTo>
                <a:cubicBezTo>
                  <a:pt x="549128" y="45633"/>
                  <a:pt x="562756" y="59261"/>
                  <a:pt x="562756" y="76055"/>
                </a:cubicBezTo>
                <a:cubicBezTo>
                  <a:pt x="562756" y="87322"/>
                  <a:pt x="556639" y="97114"/>
                  <a:pt x="547545" y="102373"/>
                </a:cubicBezTo>
                <a:lnTo>
                  <a:pt x="547545" y="158415"/>
                </a:lnTo>
                <a:lnTo>
                  <a:pt x="456278" y="249681"/>
                </a:lnTo>
                <a:lnTo>
                  <a:pt x="456278" y="267494"/>
                </a:lnTo>
                <a:lnTo>
                  <a:pt x="482247" y="293463"/>
                </a:lnTo>
                <a:cubicBezTo>
                  <a:pt x="488176" y="299419"/>
                  <a:pt x="488176" y="309050"/>
                  <a:pt x="482247" y="314978"/>
                </a:cubicBezTo>
                <a:cubicBezTo>
                  <a:pt x="479269" y="317956"/>
                  <a:pt x="475380" y="319432"/>
                  <a:pt x="471489" y="319432"/>
                </a:cubicBezTo>
                <a:cubicBezTo>
                  <a:pt x="467599" y="319432"/>
                  <a:pt x="463710" y="317956"/>
                  <a:pt x="460731" y="314978"/>
                </a:cubicBezTo>
                <a:lnTo>
                  <a:pt x="425856" y="280103"/>
                </a:lnTo>
                <a:lnTo>
                  <a:pt x="425856" y="237072"/>
                </a:lnTo>
                <a:lnTo>
                  <a:pt x="517122" y="145806"/>
                </a:lnTo>
                <a:lnTo>
                  <a:pt x="517122" y="102373"/>
                </a:lnTo>
                <a:cubicBezTo>
                  <a:pt x="508055" y="97114"/>
                  <a:pt x="501912" y="87322"/>
                  <a:pt x="501912" y="76055"/>
                </a:cubicBezTo>
                <a:cubicBezTo>
                  <a:pt x="501912" y="59261"/>
                  <a:pt x="515540" y="45633"/>
                  <a:pt x="532334" y="45633"/>
                </a:cubicBezTo>
                <a:close/>
                <a:moveTo>
                  <a:pt x="136899" y="45633"/>
                </a:moveTo>
                <a:cubicBezTo>
                  <a:pt x="153693" y="45633"/>
                  <a:pt x="167321" y="59261"/>
                  <a:pt x="167321" y="76055"/>
                </a:cubicBezTo>
                <a:cubicBezTo>
                  <a:pt x="167321" y="92849"/>
                  <a:pt x="153693" y="106477"/>
                  <a:pt x="136899" y="106477"/>
                </a:cubicBezTo>
                <a:cubicBezTo>
                  <a:pt x="134163" y="106477"/>
                  <a:pt x="131534" y="106102"/>
                  <a:pt x="129039" y="105431"/>
                </a:cubicBezTo>
                <a:lnTo>
                  <a:pt x="120615" y="113828"/>
                </a:lnTo>
                <a:cubicBezTo>
                  <a:pt x="121286" y="116350"/>
                  <a:pt x="121688" y="118979"/>
                  <a:pt x="121688" y="121688"/>
                </a:cubicBezTo>
                <a:cubicBezTo>
                  <a:pt x="121688" y="138482"/>
                  <a:pt x="108060" y="152110"/>
                  <a:pt x="91266" y="152110"/>
                </a:cubicBezTo>
                <a:cubicBezTo>
                  <a:pt x="74472" y="152110"/>
                  <a:pt x="60817" y="138482"/>
                  <a:pt x="60817" y="121688"/>
                </a:cubicBezTo>
                <a:cubicBezTo>
                  <a:pt x="60817" y="104894"/>
                  <a:pt x="74445" y="91266"/>
                  <a:pt x="91239" y="91266"/>
                </a:cubicBezTo>
                <a:cubicBezTo>
                  <a:pt x="93976" y="91266"/>
                  <a:pt x="96605" y="91642"/>
                  <a:pt x="99100" y="92312"/>
                </a:cubicBezTo>
                <a:lnTo>
                  <a:pt x="107523" y="83889"/>
                </a:lnTo>
                <a:cubicBezTo>
                  <a:pt x="106880" y="81394"/>
                  <a:pt x="106477" y="78765"/>
                  <a:pt x="106477" y="76055"/>
                </a:cubicBezTo>
                <a:cubicBezTo>
                  <a:pt x="106477" y="59261"/>
                  <a:pt x="120105" y="45633"/>
                  <a:pt x="136899" y="45633"/>
                </a:cubicBezTo>
                <a:close/>
                <a:moveTo>
                  <a:pt x="456304" y="30422"/>
                </a:moveTo>
                <a:cubicBezTo>
                  <a:pt x="464702" y="30422"/>
                  <a:pt x="471515" y="37236"/>
                  <a:pt x="471515" y="45633"/>
                </a:cubicBezTo>
                <a:lnTo>
                  <a:pt x="471515" y="143177"/>
                </a:lnTo>
                <a:lnTo>
                  <a:pt x="395460" y="219232"/>
                </a:lnTo>
                <a:lnTo>
                  <a:pt x="395460" y="297890"/>
                </a:lnTo>
                <a:lnTo>
                  <a:pt x="421429" y="323858"/>
                </a:lnTo>
                <a:cubicBezTo>
                  <a:pt x="427358" y="329814"/>
                  <a:pt x="427358" y="339445"/>
                  <a:pt x="421429" y="345374"/>
                </a:cubicBezTo>
                <a:cubicBezTo>
                  <a:pt x="418451" y="348352"/>
                  <a:pt x="414561" y="349827"/>
                  <a:pt x="410671" y="349827"/>
                </a:cubicBezTo>
                <a:cubicBezTo>
                  <a:pt x="406781" y="349827"/>
                  <a:pt x="402892" y="348352"/>
                  <a:pt x="399913" y="345374"/>
                </a:cubicBezTo>
                <a:lnTo>
                  <a:pt x="365038" y="310499"/>
                </a:lnTo>
                <a:lnTo>
                  <a:pt x="365038" y="206650"/>
                </a:lnTo>
                <a:lnTo>
                  <a:pt x="441094" y="130595"/>
                </a:lnTo>
                <a:lnTo>
                  <a:pt x="441094" y="45633"/>
                </a:lnTo>
                <a:cubicBezTo>
                  <a:pt x="441094" y="37236"/>
                  <a:pt x="447908" y="30422"/>
                  <a:pt x="456304" y="30422"/>
                </a:cubicBezTo>
                <a:close/>
                <a:moveTo>
                  <a:pt x="212955" y="30395"/>
                </a:moveTo>
                <a:cubicBezTo>
                  <a:pt x="221352" y="30395"/>
                  <a:pt x="228166" y="37209"/>
                  <a:pt x="228166" y="45606"/>
                </a:cubicBezTo>
                <a:lnTo>
                  <a:pt x="228166" y="97544"/>
                </a:lnTo>
                <a:lnTo>
                  <a:pt x="152111" y="173599"/>
                </a:lnTo>
                <a:lnTo>
                  <a:pt x="152111" y="224544"/>
                </a:lnTo>
                <a:lnTo>
                  <a:pt x="162439" y="245174"/>
                </a:lnTo>
                <a:cubicBezTo>
                  <a:pt x="174136" y="249413"/>
                  <a:pt x="182533" y="260600"/>
                  <a:pt x="182533" y="273772"/>
                </a:cubicBezTo>
                <a:cubicBezTo>
                  <a:pt x="182533" y="290592"/>
                  <a:pt x="168905" y="304194"/>
                  <a:pt x="152111" y="304167"/>
                </a:cubicBezTo>
                <a:cubicBezTo>
                  <a:pt x="135317" y="304167"/>
                  <a:pt x="121689" y="290539"/>
                  <a:pt x="121689" y="273745"/>
                </a:cubicBezTo>
                <a:cubicBezTo>
                  <a:pt x="121689" y="264892"/>
                  <a:pt x="125499" y="256951"/>
                  <a:pt x="131535" y="251398"/>
                </a:cubicBezTo>
                <a:lnTo>
                  <a:pt x="121689" y="231707"/>
                </a:lnTo>
                <a:lnTo>
                  <a:pt x="121689" y="160990"/>
                </a:lnTo>
                <a:lnTo>
                  <a:pt x="197744" y="84935"/>
                </a:lnTo>
                <a:lnTo>
                  <a:pt x="197744" y="45606"/>
                </a:lnTo>
                <a:cubicBezTo>
                  <a:pt x="197744" y="37209"/>
                  <a:pt x="204558" y="30395"/>
                  <a:pt x="212955" y="30395"/>
                </a:cubicBezTo>
                <a:close/>
                <a:moveTo>
                  <a:pt x="288984" y="15211"/>
                </a:moveTo>
                <a:cubicBezTo>
                  <a:pt x="305777" y="15211"/>
                  <a:pt x="319405" y="28839"/>
                  <a:pt x="319405" y="45633"/>
                </a:cubicBezTo>
                <a:cubicBezTo>
                  <a:pt x="319405" y="56900"/>
                  <a:pt x="313289" y="66692"/>
                  <a:pt x="304194" y="71951"/>
                </a:cubicBezTo>
                <a:lnTo>
                  <a:pt x="304194" y="112782"/>
                </a:lnTo>
                <a:lnTo>
                  <a:pt x="243350" y="173626"/>
                </a:lnTo>
                <a:lnTo>
                  <a:pt x="243350" y="288983"/>
                </a:lnTo>
                <a:cubicBezTo>
                  <a:pt x="243350" y="297380"/>
                  <a:pt x="236536" y="304194"/>
                  <a:pt x="228139" y="304194"/>
                </a:cubicBezTo>
                <a:cubicBezTo>
                  <a:pt x="219742" y="304194"/>
                  <a:pt x="212928" y="297380"/>
                  <a:pt x="212928" y="288983"/>
                </a:cubicBezTo>
                <a:lnTo>
                  <a:pt x="212928" y="161017"/>
                </a:lnTo>
                <a:lnTo>
                  <a:pt x="273772" y="100173"/>
                </a:lnTo>
                <a:lnTo>
                  <a:pt x="273772" y="71951"/>
                </a:lnTo>
                <a:cubicBezTo>
                  <a:pt x="264705" y="66692"/>
                  <a:pt x="258561" y="56900"/>
                  <a:pt x="258561" y="45633"/>
                </a:cubicBezTo>
                <a:cubicBezTo>
                  <a:pt x="258561" y="28839"/>
                  <a:pt x="272190" y="15211"/>
                  <a:pt x="288984" y="15211"/>
                </a:cubicBezTo>
                <a:close/>
                <a:moveTo>
                  <a:pt x="380249" y="0"/>
                </a:moveTo>
                <a:cubicBezTo>
                  <a:pt x="397043" y="0"/>
                  <a:pt x="410672" y="13628"/>
                  <a:pt x="410672" y="30422"/>
                </a:cubicBezTo>
                <a:cubicBezTo>
                  <a:pt x="410672" y="41689"/>
                  <a:pt x="404555" y="51481"/>
                  <a:pt x="395461" y="56740"/>
                </a:cubicBezTo>
                <a:lnTo>
                  <a:pt x="395461" y="127993"/>
                </a:lnTo>
                <a:lnTo>
                  <a:pt x="319405" y="204048"/>
                </a:lnTo>
                <a:lnTo>
                  <a:pt x="319405" y="247481"/>
                </a:lnTo>
                <a:cubicBezTo>
                  <a:pt x="328500" y="252739"/>
                  <a:pt x="334616" y="262558"/>
                  <a:pt x="334616" y="273799"/>
                </a:cubicBezTo>
                <a:cubicBezTo>
                  <a:pt x="334616" y="290593"/>
                  <a:pt x="320988" y="304221"/>
                  <a:pt x="304194" y="304221"/>
                </a:cubicBezTo>
                <a:cubicBezTo>
                  <a:pt x="287400" y="304221"/>
                  <a:pt x="273772" y="290593"/>
                  <a:pt x="273772" y="273799"/>
                </a:cubicBezTo>
                <a:cubicBezTo>
                  <a:pt x="273772" y="262531"/>
                  <a:pt x="279889" y="252739"/>
                  <a:pt x="288983" y="247481"/>
                </a:cubicBezTo>
                <a:lnTo>
                  <a:pt x="288983" y="191439"/>
                </a:lnTo>
                <a:lnTo>
                  <a:pt x="365038" y="115384"/>
                </a:lnTo>
                <a:lnTo>
                  <a:pt x="365038" y="56740"/>
                </a:lnTo>
                <a:cubicBezTo>
                  <a:pt x="355944" y="51481"/>
                  <a:pt x="349828" y="41689"/>
                  <a:pt x="349828" y="30422"/>
                </a:cubicBezTo>
                <a:cubicBezTo>
                  <a:pt x="349828" y="13628"/>
                  <a:pt x="363455" y="0"/>
                  <a:pt x="380249" y="0"/>
                </a:cubicBezTo>
                <a:close/>
              </a:path>
            </a:pathLst>
          </a:custGeom>
          <a:solidFill>
            <a:srgbClr val="000028"/>
          </a:solidFill>
          <a:ln w="2681" cap="flat">
            <a:noFill/>
            <a:prstDash val="solid"/>
            <a:miter/>
          </a:ln>
        </p:spPr>
        <p:txBody>
          <a:bodyPr rtlCol="0" anchor="ctr"/>
          <a:lstStyle/>
          <a:p>
            <a:endParaRPr lang="en-US"/>
          </a:p>
        </p:txBody>
      </p:sp>
      <p:grpSp>
        <p:nvGrpSpPr>
          <p:cNvPr id="76" name="Gruppieren 75">
            <a:extLst>
              <a:ext uri="{FF2B5EF4-FFF2-40B4-BE49-F238E27FC236}">
                <a16:creationId xmlns:a16="http://schemas.microsoft.com/office/drawing/2014/main" id="{F29B39ED-DBEC-4B9C-AF28-7602C36A3AE4}"/>
              </a:ext>
            </a:extLst>
          </p:cNvPr>
          <p:cNvGrpSpPr/>
          <p:nvPr/>
        </p:nvGrpSpPr>
        <p:grpSpPr>
          <a:xfrm>
            <a:off x="5355001" y="2214568"/>
            <a:ext cx="419530" cy="419444"/>
            <a:chOff x="5355001" y="2214568"/>
            <a:chExt cx="419530" cy="419444"/>
          </a:xfrm>
        </p:grpSpPr>
        <p:sp>
          <p:nvSpPr>
            <p:cNvPr id="58" name="Rectangle 12">
              <a:extLst>
                <a:ext uri="{FF2B5EF4-FFF2-40B4-BE49-F238E27FC236}">
                  <a16:creationId xmlns:a16="http://schemas.microsoft.com/office/drawing/2014/main" id="{126710DC-B31E-4A17-AD7C-E1333906B5F3}"/>
                </a:ext>
              </a:extLst>
            </p:cNvPr>
            <p:cNvSpPr>
              <a:spLocks/>
            </p:cNvSpPr>
            <p:nvPr/>
          </p:nvSpPr>
          <p:spPr>
            <a:xfrm>
              <a:off x="5355001" y="2214568"/>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57" name="Grafik 5" descr="Ein Bild, das Pfeil enthält.&#10;&#10;Beschreibung automatisch generiert.">
              <a:extLst>
                <a:ext uri="{FF2B5EF4-FFF2-40B4-BE49-F238E27FC236}">
                  <a16:creationId xmlns:a16="http://schemas.microsoft.com/office/drawing/2014/main" id="{3F7A4806-5C21-4E54-A1A4-8613533EA58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7854" t="47584" r="17406" b="20175"/>
            <a:stretch/>
          </p:blipFill>
          <p:spPr>
            <a:xfrm>
              <a:off x="5409370" y="2311400"/>
              <a:ext cx="310792" cy="227912"/>
            </a:xfrm>
            <a:prstGeom prst="rect">
              <a:avLst/>
            </a:prstGeom>
          </p:spPr>
        </p:pic>
      </p:grpSp>
      <p:grpSp>
        <p:nvGrpSpPr>
          <p:cNvPr id="77" name="Gruppieren 76">
            <a:extLst>
              <a:ext uri="{FF2B5EF4-FFF2-40B4-BE49-F238E27FC236}">
                <a16:creationId xmlns:a16="http://schemas.microsoft.com/office/drawing/2014/main" id="{8C5E9E8B-86FD-42FD-8FB8-7AE2BB2B63FD}"/>
              </a:ext>
            </a:extLst>
          </p:cNvPr>
          <p:cNvGrpSpPr/>
          <p:nvPr/>
        </p:nvGrpSpPr>
        <p:grpSpPr>
          <a:xfrm>
            <a:off x="5355001" y="1602925"/>
            <a:ext cx="419530" cy="419444"/>
            <a:chOff x="5355001" y="1602925"/>
            <a:chExt cx="419530" cy="419444"/>
          </a:xfrm>
        </p:grpSpPr>
        <p:sp>
          <p:nvSpPr>
            <p:cNvPr id="35" name="Rectangle 12">
              <a:extLst>
                <a:ext uri="{FF2B5EF4-FFF2-40B4-BE49-F238E27FC236}">
                  <a16:creationId xmlns:a16="http://schemas.microsoft.com/office/drawing/2014/main" id="{561D4CEF-6C7B-4E75-9C7C-5AC9168E87A7}"/>
                </a:ext>
              </a:extLst>
            </p:cNvPr>
            <p:cNvSpPr>
              <a:spLocks/>
            </p:cNvSpPr>
            <p:nvPr/>
          </p:nvSpPr>
          <p:spPr>
            <a:xfrm>
              <a:off x="5355001" y="1602925"/>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61" name="Freihandform: Form 60">
              <a:extLst>
                <a:ext uri="{FF2B5EF4-FFF2-40B4-BE49-F238E27FC236}">
                  <a16:creationId xmlns:a16="http://schemas.microsoft.com/office/drawing/2014/main" id="{CEEA9DF3-66E5-46D6-B67A-DC1EB43E8FD1}"/>
                </a:ext>
              </a:extLst>
            </p:cNvPr>
            <p:cNvSpPr>
              <a:spLocks/>
            </p:cNvSpPr>
            <p:nvPr/>
          </p:nvSpPr>
          <p:spPr>
            <a:xfrm>
              <a:off x="5428778" y="1676400"/>
              <a:ext cx="271976" cy="272494"/>
            </a:xfrm>
            <a:custGeom>
              <a:avLst/>
              <a:gdLst>
                <a:gd name="connsiteX0" fmla="*/ 407131 w 592024"/>
                <a:gd name="connsiteY0" fmla="*/ 243350 h 593151"/>
                <a:gd name="connsiteX1" fmla="*/ 592024 w 592024"/>
                <a:gd name="connsiteY1" fmla="*/ 243350 h 593151"/>
                <a:gd name="connsiteX2" fmla="*/ 592024 w 592024"/>
                <a:gd name="connsiteY2" fmla="*/ 429477 h 593151"/>
                <a:gd name="connsiteX3" fmla="*/ 545828 w 592024"/>
                <a:gd name="connsiteY3" fmla="*/ 429477 h 593151"/>
                <a:gd name="connsiteX4" fmla="*/ 536572 w 592024"/>
                <a:gd name="connsiteY4" fmla="*/ 335797 h 593151"/>
                <a:gd name="connsiteX5" fmla="*/ 365012 w 592024"/>
                <a:gd name="connsiteY5" fmla="*/ 501911 h 593151"/>
                <a:gd name="connsiteX6" fmla="*/ 365012 w 592024"/>
                <a:gd name="connsiteY6" fmla="*/ 437794 h 593151"/>
                <a:gd name="connsiteX7" fmla="*/ 499577 w 592024"/>
                <a:gd name="connsiteY7" fmla="*/ 298802 h 593151"/>
                <a:gd name="connsiteX8" fmla="*/ 407131 w 592024"/>
                <a:gd name="connsiteY8" fmla="*/ 289573 h 593151"/>
                <a:gd name="connsiteX9" fmla="*/ 407131 w 592024"/>
                <a:gd name="connsiteY9" fmla="*/ 280345 h 593151"/>
                <a:gd name="connsiteX10" fmla="*/ 0 w 592024"/>
                <a:gd name="connsiteY10" fmla="*/ 243350 h 593151"/>
                <a:gd name="connsiteX11" fmla="*/ 184893 w 592024"/>
                <a:gd name="connsiteY11" fmla="*/ 243350 h 593151"/>
                <a:gd name="connsiteX12" fmla="*/ 184893 w 592024"/>
                <a:gd name="connsiteY12" fmla="*/ 280345 h 593151"/>
                <a:gd name="connsiteX13" fmla="*/ 184893 w 592024"/>
                <a:gd name="connsiteY13" fmla="*/ 289573 h 593151"/>
                <a:gd name="connsiteX14" fmla="*/ 92447 w 592024"/>
                <a:gd name="connsiteY14" fmla="*/ 298802 h 593151"/>
                <a:gd name="connsiteX15" fmla="*/ 227012 w 592024"/>
                <a:gd name="connsiteY15" fmla="*/ 437794 h 593151"/>
                <a:gd name="connsiteX16" fmla="*/ 227012 w 592024"/>
                <a:gd name="connsiteY16" fmla="*/ 501911 h 593151"/>
                <a:gd name="connsiteX17" fmla="*/ 55452 w 592024"/>
                <a:gd name="connsiteY17" fmla="*/ 335797 h 593151"/>
                <a:gd name="connsiteX18" fmla="*/ 46197 w 592024"/>
                <a:gd name="connsiteY18" fmla="*/ 429477 h 593151"/>
                <a:gd name="connsiteX19" fmla="*/ 0 w 592024"/>
                <a:gd name="connsiteY19" fmla="*/ 429477 h 593151"/>
                <a:gd name="connsiteX20" fmla="*/ 295958 w 592024"/>
                <a:gd name="connsiteY20" fmla="*/ 0 h 593151"/>
                <a:gd name="connsiteX21" fmla="*/ 448042 w 592024"/>
                <a:gd name="connsiteY21" fmla="*/ 152084 h 593151"/>
                <a:gd name="connsiteX22" fmla="*/ 417620 w 592024"/>
                <a:gd name="connsiteY22" fmla="*/ 182506 h 593151"/>
                <a:gd name="connsiteX23" fmla="*/ 410028 w 592024"/>
                <a:gd name="connsiteY23" fmla="*/ 190125 h 593151"/>
                <a:gd name="connsiteX24" fmla="*/ 326380 w 592024"/>
                <a:gd name="connsiteY24" fmla="*/ 121662 h 593151"/>
                <a:gd name="connsiteX25" fmla="*/ 318761 w 592024"/>
                <a:gd name="connsiteY25" fmla="*/ 593151 h 593151"/>
                <a:gd name="connsiteX26" fmla="*/ 273128 w 592024"/>
                <a:gd name="connsiteY26" fmla="*/ 593151 h 593151"/>
                <a:gd name="connsiteX27" fmla="*/ 265536 w 592024"/>
                <a:gd name="connsiteY27" fmla="*/ 121662 h 593151"/>
                <a:gd name="connsiteX28" fmla="*/ 180869 w 592024"/>
                <a:gd name="connsiteY28" fmla="*/ 191117 h 593151"/>
                <a:gd name="connsiteX29" fmla="*/ 142855 w 592024"/>
                <a:gd name="connsiteY29" fmla="*/ 153103 h 59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92024" h="593151">
                  <a:moveTo>
                    <a:pt x="407131" y="243350"/>
                  </a:moveTo>
                  <a:lnTo>
                    <a:pt x="592024" y="243350"/>
                  </a:lnTo>
                  <a:lnTo>
                    <a:pt x="592024" y="429477"/>
                  </a:lnTo>
                  <a:lnTo>
                    <a:pt x="545828" y="429477"/>
                  </a:lnTo>
                  <a:lnTo>
                    <a:pt x="536572" y="335797"/>
                  </a:lnTo>
                  <a:lnTo>
                    <a:pt x="365012" y="501911"/>
                  </a:lnTo>
                  <a:lnTo>
                    <a:pt x="365012" y="437794"/>
                  </a:lnTo>
                  <a:lnTo>
                    <a:pt x="499577" y="298802"/>
                  </a:lnTo>
                  <a:lnTo>
                    <a:pt x="407131" y="289573"/>
                  </a:lnTo>
                  <a:lnTo>
                    <a:pt x="407131" y="280345"/>
                  </a:lnTo>
                  <a:close/>
                  <a:moveTo>
                    <a:pt x="0" y="243350"/>
                  </a:moveTo>
                  <a:lnTo>
                    <a:pt x="184893" y="243350"/>
                  </a:lnTo>
                  <a:lnTo>
                    <a:pt x="184893" y="280345"/>
                  </a:lnTo>
                  <a:lnTo>
                    <a:pt x="184893" y="289573"/>
                  </a:lnTo>
                  <a:lnTo>
                    <a:pt x="92447" y="298802"/>
                  </a:lnTo>
                  <a:lnTo>
                    <a:pt x="227012" y="437794"/>
                  </a:lnTo>
                  <a:lnTo>
                    <a:pt x="227012" y="501911"/>
                  </a:lnTo>
                  <a:lnTo>
                    <a:pt x="55452" y="335797"/>
                  </a:lnTo>
                  <a:lnTo>
                    <a:pt x="46197" y="429477"/>
                  </a:lnTo>
                  <a:lnTo>
                    <a:pt x="0" y="429477"/>
                  </a:lnTo>
                  <a:close/>
                  <a:moveTo>
                    <a:pt x="295958" y="0"/>
                  </a:moveTo>
                  <a:lnTo>
                    <a:pt x="448042" y="152084"/>
                  </a:lnTo>
                  <a:lnTo>
                    <a:pt x="417620" y="182506"/>
                  </a:lnTo>
                  <a:lnTo>
                    <a:pt x="410028" y="190125"/>
                  </a:lnTo>
                  <a:lnTo>
                    <a:pt x="326380" y="121662"/>
                  </a:lnTo>
                  <a:lnTo>
                    <a:pt x="318761" y="593151"/>
                  </a:lnTo>
                  <a:lnTo>
                    <a:pt x="273128" y="593151"/>
                  </a:lnTo>
                  <a:lnTo>
                    <a:pt x="265536" y="121662"/>
                  </a:lnTo>
                  <a:lnTo>
                    <a:pt x="180869" y="191117"/>
                  </a:lnTo>
                  <a:lnTo>
                    <a:pt x="142855" y="153103"/>
                  </a:lnTo>
                  <a:close/>
                </a:path>
              </a:pathLst>
            </a:custGeom>
            <a:solidFill>
              <a:schemeClr val="tx2"/>
            </a:solidFill>
            <a:ln w="2681" cap="flat">
              <a:noFill/>
              <a:prstDash val="solid"/>
              <a:miter/>
            </a:ln>
          </p:spPr>
          <p:txBody>
            <a:bodyPr rtlCol="0" anchor="ctr"/>
            <a:lstStyle/>
            <a:p>
              <a:endParaRPr lang="en-US"/>
            </a:p>
          </p:txBody>
        </p:sp>
      </p:grpSp>
      <p:grpSp>
        <p:nvGrpSpPr>
          <p:cNvPr id="75" name="Gruppieren 74">
            <a:extLst>
              <a:ext uri="{FF2B5EF4-FFF2-40B4-BE49-F238E27FC236}">
                <a16:creationId xmlns:a16="http://schemas.microsoft.com/office/drawing/2014/main" id="{10519312-42A2-4E5E-B372-1BD2A04614C2}"/>
              </a:ext>
            </a:extLst>
          </p:cNvPr>
          <p:cNvGrpSpPr/>
          <p:nvPr/>
        </p:nvGrpSpPr>
        <p:grpSpPr>
          <a:xfrm>
            <a:off x="5355001" y="2789941"/>
            <a:ext cx="419530" cy="419444"/>
            <a:chOff x="5355001" y="2789941"/>
            <a:chExt cx="419530" cy="419444"/>
          </a:xfrm>
        </p:grpSpPr>
        <p:sp>
          <p:nvSpPr>
            <p:cNvPr id="38" name="Rectangle 12">
              <a:extLst>
                <a:ext uri="{FF2B5EF4-FFF2-40B4-BE49-F238E27FC236}">
                  <a16:creationId xmlns:a16="http://schemas.microsoft.com/office/drawing/2014/main" id="{1033FCCE-A191-4C3E-A5A5-C335F4C204BE}"/>
                </a:ext>
              </a:extLst>
            </p:cNvPr>
            <p:cNvSpPr>
              <a:spLocks/>
            </p:cNvSpPr>
            <p:nvPr/>
          </p:nvSpPr>
          <p:spPr>
            <a:xfrm>
              <a:off x="5355001" y="2789941"/>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63" name="Grafik 62" descr="Ein Bild, das Pfeil enthält.&#10;&#10;Beschreibung automatisch generiert.">
              <a:extLst>
                <a:ext uri="{FF2B5EF4-FFF2-40B4-BE49-F238E27FC236}">
                  <a16:creationId xmlns:a16="http://schemas.microsoft.com/office/drawing/2014/main" id="{FCA9E0DB-61F0-4126-B83B-A11BD5A7D01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47096" t="35391" r="24700" b="17803"/>
            <a:stretch/>
          </p:blipFill>
          <p:spPr>
            <a:xfrm>
              <a:off x="5390078" y="2845594"/>
              <a:ext cx="330084" cy="308138"/>
            </a:xfrm>
            <a:custGeom>
              <a:avLst/>
              <a:gdLst>
                <a:gd name="connsiteX0" fmla="*/ 1152525 w 3438525"/>
                <a:gd name="connsiteY0" fmla="*/ 0 h 3209925"/>
                <a:gd name="connsiteX1" fmla="*/ 1285875 w 3438525"/>
                <a:gd name="connsiteY1" fmla="*/ 38100 h 3209925"/>
                <a:gd name="connsiteX2" fmla="*/ 3371850 w 3438525"/>
                <a:gd name="connsiteY2" fmla="*/ 57150 h 3209925"/>
                <a:gd name="connsiteX3" fmla="*/ 3438525 w 3438525"/>
                <a:gd name="connsiteY3" fmla="*/ 2295525 h 3209925"/>
                <a:gd name="connsiteX4" fmla="*/ 1762125 w 3438525"/>
                <a:gd name="connsiteY4" fmla="*/ 2362200 h 3209925"/>
                <a:gd name="connsiteX5" fmla="*/ 1724025 w 3438525"/>
                <a:gd name="connsiteY5" fmla="*/ 3209925 h 3209925"/>
                <a:gd name="connsiteX6" fmla="*/ 0 w 3438525"/>
                <a:gd name="connsiteY6" fmla="*/ 3133725 h 3209925"/>
                <a:gd name="connsiteX7" fmla="*/ 314326 w 3438525"/>
                <a:gd name="connsiteY7" fmla="*/ 1495425 h 3209925"/>
                <a:gd name="connsiteX8" fmla="*/ 1028700 w 3438525"/>
                <a:gd name="connsiteY8" fmla="*/ 1495425 h 3209925"/>
                <a:gd name="connsiteX9" fmla="*/ 1028700 w 3438525"/>
                <a:gd name="connsiteY9" fmla="*/ 1362075 h 320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8525" h="3209925">
                  <a:moveTo>
                    <a:pt x="1152525" y="0"/>
                  </a:moveTo>
                  <a:lnTo>
                    <a:pt x="1285875" y="38100"/>
                  </a:lnTo>
                  <a:lnTo>
                    <a:pt x="3371850" y="57150"/>
                  </a:lnTo>
                  <a:lnTo>
                    <a:pt x="3438525" y="2295525"/>
                  </a:lnTo>
                  <a:lnTo>
                    <a:pt x="1762125" y="2362200"/>
                  </a:lnTo>
                  <a:lnTo>
                    <a:pt x="1724025" y="3209925"/>
                  </a:lnTo>
                  <a:lnTo>
                    <a:pt x="0" y="3133725"/>
                  </a:lnTo>
                  <a:lnTo>
                    <a:pt x="314326" y="1495425"/>
                  </a:lnTo>
                  <a:lnTo>
                    <a:pt x="1028700" y="1495425"/>
                  </a:lnTo>
                  <a:lnTo>
                    <a:pt x="1028700" y="1362075"/>
                  </a:lnTo>
                  <a:close/>
                </a:path>
              </a:pathLst>
            </a:custGeom>
          </p:spPr>
        </p:pic>
      </p:grpSp>
      <p:grpSp>
        <p:nvGrpSpPr>
          <p:cNvPr id="74" name="Gruppieren 73">
            <a:extLst>
              <a:ext uri="{FF2B5EF4-FFF2-40B4-BE49-F238E27FC236}">
                <a16:creationId xmlns:a16="http://schemas.microsoft.com/office/drawing/2014/main" id="{A1F02ED9-96BE-4F29-95AC-A7F49665F016}"/>
              </a:ext>
            </a:extLst>
          </p:cNvPr>
          <p:cNvGrpSpPr/>
          <p:nvPr/>
        </p:nvGrpSpPr>
        <p:grpSpPr>
          <a:xfrm>
            <a:off x="5355001" y="3383449"/>
            <a:ext cx="419530" cy="419444"/>
            <a:chOff x="5355001" y="3383449"/>
            <a:chExt cx="419530" cy="419444"/>
          </a:xfrm>
        </p:grpSpPr>
        <p:sp>
          <p:nvSpPr>
            <p:cNvPr id="40" name="Rectangle 12">
              <a:extLst>
                <a:ext uri="{FF2B5EF4-FFF2-40B4-BE49-F238E27FC236}">
                  <a16:creationId xmlns:a16="http://schemas.microsoft.com/office/drawing/2014/main" id="{B15BD516-B8E2-410F-856C-6B748BBB61DB}"/>
                </a:ext>
              </a:extLst>
            </p:cNvPr>
            <p:cNvSpPr>
              <a:spLocks/>
            </p:cNvSpPr>
            <p:nvPr/>
          </p:nvSpPr>
          <p:spPr>
            <a:xfrm>
              <a:off x="5355001" y="3383449"/>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66" name="Grafik 65" descr="Ein Bild, das Pfeil enthält.&#10;&#10;Beschreibung automatisch generiert.">
              <a:extLst>
                <a:ext uri="{FF2B5EF4-FFF2-40B4-BE49-F238E27FC236}">
                  <a16:creationId xmlns:a16="http://schemas.microsoft.com/office/drawing/2014/main" id="{D4D70FF7-6982-4542-BEC1-8116DB4FEDB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38423" t="38154" r="36423" b="19999"/>
            <a:stretch/>
          </p:blipFill>
          <p:spPr>
            <a:xfrm>
              <a:off x="5355001" y="3414683"/>
              <a:ext cx="365425" cy="341958"/>
            </a:xfrm>
            <a:custGeom>
              <a:avLst/>
              <a:gdLst>
                <a:gd name="connsiteX0" fmla="*/ 1083212 w 3066756"/>
                <a:gd name="connsiteY0" fmla="*/ 168812 h 2869809"/>
                <a:gd name="connsiteX1" fmla="*/ 1111348 w 3066756"/>
                <a:gd name="connsiteY1" fmla="*/ 323557 h 2869809"/>
                <a:gd name="connsiteX2" fmla="*/ 1107502 w 3066756"/>
                <a:gd name="connsiteY2" fmla="*/ 327744 h 2869809"/>
                <a:gd name="connsiteX3" fmla="*/ 1083212 w 3066756"/>
                <a:gd name="connsiteY3" fmla="*/ 337624 h 2869809"/>
                <a:gd name="connsiteX4" fmla="*/ 1913206 w 3066756"/>
                <a:gd name="connsiteY4" fmla="*/ 0 h 2869809"/>
                <a:gd name="connsiteX5" fmla="*/ 2686929 w 3066756"/>
                <a:gd name="connsiteY5" fmla="*/ 464234 h 2869809"/>
                <a:gd name="connsiteX6" fmla="*/ 3066756 w 3066756"/>
                <a:gd name="connsiteY6" fmla="*/ 1336431 h 2869809"/>
                <a:gd name="connsiteX7" fmla="*/ 3066756 w 3066756"/>
                <a:gd name="connsiteY7" fmla="*/ 1533378 h 2869809"/>
                <a:gd name="connsiteX8" fmla="*/ 2349304 w 3066756"/>
                <a:gd name="connsiteY8" fmla="*/ 1547446 h 2869809"/>
                <a:gd name="connsiteX9" fmla="*/ 2307101 w 3066756"/>
                <a:gd name="connsiteY9" fmla="*/ 1899138 h 2869809"/>
                <a:gd name="connsiteX10" fmla="*/ 2883876 w 3066756"/>
                <a:gd name="connsiteY10" fmla="*/ 2321169 h 2869809"/>
                <a:gd name="connsiteX11" fmla="*/ 2560320 w 3066756"/>
                <a:gd name="connsiteY11" fmla="*/ 2644726 h 2869809"/>
                <a:gd name="connsiteX12" fmla="*/ 914400 w 3066756"/>
                <a:gd name="connsiteY12" fmla="*/ 2869809 h 2869809"/>
                <a:gd name="connsiteX13" fmla="*/ 0 w 3066756"/>
                <a:gd name="connsiteY13" fmla="*/ 1533378 h 2869809"/>
                <a:gd name="connsiteX14" fmla="*/ 1107502 w 3066756"/>
                <a:gd name="connsiteY14" fmla="*/ 327744 h 286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6756" h="2869809">
                  <a:moveTo>
                    <a:pt x="1083212" y="168812"/>
                  </a:moveTo>
                  <a:lnTo>
                    <a:pt x="1111348" y="323557"/>
                  </a:lnTo>
                  <a:lnTo>
                    <a:pt x="1107502" y="327744"/>
                  </a:lnTo>
                  <a:lnTo>
                    <a:pt x="1083212" y="337624"/>
                  </a:lnTo>
                  <a:close/>
                  <a:moveTo>
                    <a:pt x="1913206" y="0"/>
                  </a:moveTo>
                  <a:lnTo>
                    <a:pt x="2686929" y="464234"/>
                  </a:lnTo>
                  <a:lnTo>
                    <a:pt x="3066756" y="1336431"/>
                  </a:lnTo>
                  <a:lnTo>
                    <a:pt x="3066756" y="1533378"/>
                  </a:lnTo>
                  <a:lnTo>
                    <a:pt x="2349304" y="1547446"/>
                  </a:lnTo>
                  <a:lnTo>
                    <a:pt x="2307101" y="1899138"/>
                  </a:lnTo>
                  <a:lnTo>
                    <a:pt x="2883876" y="2321169"/>
                  </a:lnTo>
                  <a:lnTo>
                    <a:pt x="2560320" y="2644726"/>
                  </a:lnTo>
                  <a:lnTo>
                    <a:pt x="914400" y="2869809"/>
                  </a:lnTo>
                  <a:lnTo>
                    <a:pt x="0" y="1533378"/>
                  </a:lnTo>
                  <a:lnTo>
                    <a:pt x="1107502" y="327744"/>
                  </a:lnTo>
                  <a:close/>
                </a:path>
              </a:pathLst>
            </a:custGeom>
          </p:spPr>
        </p:pic>
      </p:grpSp>
      <p:grpSp>
        <p:nvGrpSpPr>
          <p:cNvPr id="32" name="Gruppieren 31">
            <a:extLst>
              <a:ext uri="{FF2B5EF4-FFF2-40B4-BE49-F238E27FC236}">
                <a16:creationId xmlns:a16="http://schemas.microsoft.com/office/drawing/2014/main" id="{92AF2ADF-54DF-4285-9569-ECD9F271044A}"/>
              </a:ext>
            </a:extLst>
          </p:cNvPr>
          <p:cNvGrpSpPr/>
          <p:nvPr/>
        </p:nvGrpSpPr>
        <p:grpSpPr>
          <a:xfrm>
            <a:off x="5355001" y="3976957"/>
            <a:ext cx="419530" cy="419444"/>
            <a:chOff x="5355001" y="3976957"/>
            <a:chExt cx="419530" cy="419444"/>
          </a:xfrm>
        </p:grpSpPr>
        <p:sp>
          <p:nvSpPr>
            <p:cNvPr id="41" name="Rectangle 12">
              <a:extLst>
                <a:ext uri="{FF2B5EF4-FFF2-40B4-BE49-F238E27FC236}">
                  <a16:creationId xmlns:a16="http://schemas.microsoft.com/office/drawing/2014/main" id="{F4AC6E85-3FC1-4E2E-927A-9A399C9569B3}"/>
                </a:ext>
              </a:extLst>
            </p:cNvPr>
            <p:cNvSpPr>
              <a:spLocks/>
            </p:cNvSpPr>
            <p:nvPr/>
          </p:nvSpPr>
          <p:spPr>
            <a:xfrm>
              <a:off x="5355001" y="3976957"/>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68" name="Grafik 67" descr="Ein Bild, das Pfeil enthält.&#10;&#10;Beschreibung automatisch generiert.">
              <a:extLst>
                <a:ext uri="{FF2B5EF4-FFF2-40B4-BE49-F238E27FC236}">
                  <a16:creationId xmlns:a16="http://schemas.microsoft.com/office/drawing/2014/main" id="{0D69AB14-2D67-4B56-A726-54CB00496E4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43542" t="41675" r="30520" b="15732"/>
            <a:stretch/>
          </p:blipFill>
          <p:spPr>
            <a:xfrm>
              <a:off x="5376424" y="4012709"/>
              <a:ext cx="376684" cy="347941"/>
            </a:xfrm>
            <a:custGeom>
              <a:avLst/>
              <a:gdLst>
                <a:gd name="connsiteX0" fmla="*/ 2540000 w 3162300"/>
                <a:gd name="connsiteY0" fmla="*/ 0 h 2921000"/>
                <a:gd name="connsiteX1" fmla="*/ 3162300 w 3162300"/>
                <a:gd name="connsiteY1" fmla="*/ 1066800 h 2921000"/>
                <a:gd name="connsiteX2" fmla="*/ 2819400 w 3162300"/>
                <a:gd name="connsiteY2" fmla="*/ 1422400 h 2921000"/>
                <a:gd name="connsiteX3" fmla="*/ 1955800 w 3162300"/>
                <a:gd name="connsiteY3" fmla="*/ 1587500 h 2921000"/>
                <a:gd name="connsiteX4" fmla="*/ 1930400 w 3162300"/>
                <a:gd name="connsiteY4" fmla="*/ 2413000 h 2921000"/>
                <a:gd name="connsiteX5" fmla="*/ 2908300 w 3162300"/>
                <a:gd name="connsiteY5" fmla="*/ 2616200 h 2921000"/>
                <a:gd name="connsiteX6" fmla="*/ 2895600 w 3162300"/>
                <a:gd name="connsiteY6" fmla="*/ 2921000 h 2921000"/>
                <a:gd name="connsiteX7" fmla="*/ 165100 w 3162300"/>
                <a:gd name="connsiteY7" fmla="*/ 2857500 h 2921000"/>
                <a:gd name="connsiteX8" fmla="*/ 736600 w 3162300"/>
                <a:gd name="connsiteY8" fmla="*/ 2184400 h 2921000"/>
                <a:gd name="connsiteX9" fmla="*/ 0 w 3162300"/>
                <a:gd name="connsiteY9" fmla="*/ 1790700 h 2921000"/>
                <a:gd name="connsiteX10" fmla="*/ 127001 w 3162300"/>
                <a:gd name="connsiteY10" fmla="*/ 495300 h 2921000"/>
                <a:gd name="connsiteX11" fmla="*/ 266701 w 3162300"/>
                <a:gd name="connsiteY11" fmla="*/ 469900 h 29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2300" h="2921000">
                  <a:moveTo>
                    <a:pt x="2540000" y="0"/>
                  </a:moveTo>
                  <a:lnTo>
                    <a:pt x="3162300" y="1066800"/>
                  </a:lnTo>
                  <a:lnTo>
                    <a:pt x="2819400" y="1422400"/>
                  </a:lnTo>
                  <a:lnTo>
                    <a:pt x="1955800" y="1587500"/>
                  </a:lnTo>
                  <a:lnTo>
                    <a:pt x="1930400" y="2413000"/>
                  </a:lnTo>
                  <a:lnTo>
                    <a:pt x="2908300" y="2616200"/>
                  </a:lnTo>
                  <a:lnTo>
                    <a:pt x="2895600" y="2921000"/>
                  </a:lnTo>
                  <a:lnTo>
                    <a:pt x="165100" y="2857500"/>
                  </a:lnTo>
                  <a:lnTo>
                    <a:pt x="736600" y="2184400"/>
                  </a:lnTo>
                  <a:lnTo>
                    <a:pt x="0" y="1790700"/>
                  </a:lnTo>
                  <a:lnTo>
                    <a:pt x="127001" y="495300"/>
                  </a:lnTo>
                  <a:lnTo>
                    <a:pt x="266701" y="469900"/>
                  </a:lnTo>
                  <a:close/>
                </a:path>
              </a:pathLst>
            </a:custGeom>
          </p:spPr>
        </p:pic>
      </p:grpSp>
      <p:grpSp>
        <p:nvGrpSpPr>
          <p:cNvPr id="30" name="Gruppieren 29">
            <a:extLst>
              <a:ext uri="{FF2B5EF4-FFF2-40B4-BE49-F238E27FC236}">
                <a16:creationId xmlns:a16="http://schemas.microsoft.com/office/drawing/2014/main" id="{6EDDC67C-33FD-439D-BEED-935FB6159F48}"/>
              </a:ext>
            </a:extLst>
          </p:cNvPr>
          <p:cNvGrpSpPr/>
          <p:nvPr/>
        </p:nvGrpSpPr>
        <p:grpSpPr>
          <a:xfrm>
            <a:off x="5355001" y="4570465"/>
            <a:ext cx="419530" cy="419444"/>
            <a:chOff x="5355001" y="4570465"/>
            <a:chExt cx="419530" cy="419444"/>
          </a:xfrm>
        </p:grpSpPr>
        <p:sp>
          <p:nvSpPr>
            <p:cNvPr id="43" name="Rectangle 12">
              <a:extLst>
                <a:ext uri="{FF2B5EF4-FFF2-40B4-BE49-F238E27FC236}">
                  <a16:creationId xmlns:a16="http://schemas.microsoft.com/office/drawing/2014/main" id="{0EA7C0FD-4245-4991-B3F4-99D84B35F4C0}"/>
                </a:ext>
              </a:extLst>
            </p:cNvPr>
            <p:cNvSpPr>
              <a:spLocks/>
            </p:cNvSpPr>
            <p:nvPr/>
          </p:nvSpPr>
          <p:spPr>
            <a:xfrm>
              <a:off x="5355001" y="4570465"/>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71" name="Freihandform: Form 70">
              <a:extLst>
                <a:ext uri="{FF2B5EF4-FFF2-40B4-BE49-F238E27FC236}">
                  <a16:creationId xmlns:a16="http://schemas.microsoft.com/office/drawing/2014/main" id="{A80219A3-9679-4C79-95B9-CF305B16259B}"/>
                </a:ext>
              </a:extLst>
            </p:cNvPr>
            <p:cNvSpPr>
              <a:spLocks/>
            </p:cNvSpPr>
            <p:nvPr/>
          </p:nvSpPr>
          <p:spPr>
            <a:xfrm>
              <a:off x="5401903" y="4645819"/>
              <a:ext cx="325726" cy="268736"/>
            </a:xfrm>
            <a:custGeom>
              <a:avLst/>
              <a:gdLst>
                <a:gd name="connsiteX0" fmla="*/ 468887 w 623599"/>
                <a:gd name="connsiteY0" fmla="*/ 135558 h 514492"/>
                <a:gd name="connsiteX1" fmla="*/ 164693 w 623599"/>
                <a:gd name="connsiteY1" fmla="*/ 439752 h 514492"/>
                <a:gd name="connsiteX2" fmla="*/ 0 w 623599"/>
                <a:gd name="connsiteY2" fmla="*/ 439752 h 514492"/>
                <a:gd name="connsiteX3" fmla="*/ 0 w 623599"/>
                <a:gd name="connsiteY3" fmla="*/ 378908 h 514492"/>
                <a:gd name="connsiteX4" fmla="*/ 139502 w 623599"/>
                <a:gd name="connsiteY4" fmla="*/ 378908 h 514492"/>
                <a:gd name="connsiteX5" fmla="*/ 443696 w 623599"/>
                <a:gd name="connsiteY5" fmla="*/ 74741 h 514492"/>
                <a:gd name="connsiteX6" fmla="*/ 443696 w 623599"/>
                <a:gd name="connsiteY6" fmla="*/ 74741 h 514492"/>
                <a:gd name="connsiteX7" fmla="*/ 443696 w 623599"/>
                <a:gd name="connsiteY7" fmla="*/ 74741 h 514492"/>
                <a:gd name="connsiteX8" fmla="*/ 536304 w 623599"/>
                <a:gd name="connsiteY8" fmla="*/ 74741 h 514492"/>
                <a:gd name="connsiteX9" fmla="*/ 493219 w 623599"/>
                <a:gd name="connsiteY9" fmla="*/ 25191 h 514492"/>
                <a:gd name="connsiteX10" fmla="*/ 518410 w 623599"/>
                <a:gd name="connsiteY10" fmla="*/ 0 h 514492"/>
                <a:gd name="connsiteX11" fmla="*/ 623599 w 623599"/>
                <a:gd name="connsiteY11" fmla="*/ 105190 h 514492"/>
                <a:gd name="connsiteX12" fmla="*/ 518410 w 623599"/>
                <a:gd name="connsiteY12" fmla="*/ 210379 h 514492"/>
                <a:gd name="connsiteX13" fmla="*/ 493219 w 623599"/>
                <a:gd name="connsiteY13" fmla="*/ 185189 h 514492"/>
                <a:gd name="connsiteX14" fmla="*/ 536304 w 623599"/>
                <a:gd name="connsiteY14" fmla="*/ 135639 h 514492"/>
                <a:gd name="connsiteX15" fmla="*/ 468887 w 623599"/>
                <a:gd name="connsiteY15" fmla="*/ 135639 h 514492"/>
                <a:gd name="connsiteX16" fmla="*/ 239675 w 623599"/>
                <a:gd name="connsiteY16" fmla="*/ 235731 h 514492"/>
                <a:gd name="connsiteX17" fmla="*/ 282706 w 623599"/>
                <a:gd name="connsiteY17" fmla="*/ 192700 h 514492"/>
                <a:gd name="connsiteX18" fmla="*/ 164720 w 623599"/>
                <a:gd name="connsiteY18" fmla="*/ 74714 h 514492"/>
                <a:gd name="connsiteX19" fmla="*/ 27 w 623599"/>
                <a:gd name="connsiteY19" fmla="*/ 74714 h 514492"/>
                <a:gd name="connsiteX20" fmla="*/ 27 w 623599"/>
                <a:gd name="connsiteY20" fmla="*/ 135558 h 514492"/>
                <a:gd name="connsiteX21" fmla="*/ 139529 w 623599"/>
                <a:gd name="connsiteY21" fmla="*/ 135558 h 514492"/>
                <a:gd name="connsiteX22" fmla="*/ 239675 w 623599"/>
                <a:gd name="connsiteY22" fmla="*/ 235731 h 514492"/>
                <a:gd name="connsiteX23" fmla="*/ 493219 w 623599"/>
                <a:gd name="connsiteY23" fmla="*/ 329358 h 514492"/>
                <a:gd name="connsiteX24" fmla="*/ 536304 w 623599"/>
                <a:gd name="connsiteY24" fmla="*/ 378908 h 514492"/>
                <a:gd name="connsiteX25" fmla="*/ 468887 w 623599"/>
                <a:gd name="connsiteY25" fmla="*/ 378908 h 514492"/>
                <a:gd name="connsiteX26" fmla="*/ 368714 w 623599"/>
                <a:gd name="connsiteY26" fmla="*/ 278735 h 514492"/>
                <a:gd name="connsiteX27" fmla="*/ 325683 w 623599"/>
                <a:gd name="connsiteY27" fmla="*/ 321766 h 514492"/>
                <a:gd name="connsiteX28" fmla="*/ 443669 w 623599"/>
                <a:gd name="connsiteY28" fmla="*/ 439752 h 514492"/>
                <a:gd name="connsiteX29" fmla="*/ 536277 w 623599"/>
                <a:gd name="connsiteY29" fmla="*/ 439752 h 514492"/>
                <a:gd name="connsiteX30" fmla="*/ 493192 w 623599"/>
                <a:gd name="connsiteY30" fmla="*/ 489302 h 514492"/>
                <a:gd name="connsiteX31" fmla="*/ 518383 w 623599"/>
                <a:gd name="connsiteY31" fmla="*/ 514493 h 514492"/>
                <a:gd name="connsiteX32" fmla="*/ 623573 w 623599"/>
                <a:gd name="connsiteY32" fmla="*/ 409303 h 514492"/>
                <a:gd name="connsiteX33" fmla="*/ 518383 w 623599"/>
                <a:gd name="connsiteY33" fmla="*/ 304114 h 514492"/>
                <a:gd name="connsiteX34" fmla="*/ 493219 w 623599"/>
                <a:gd name="connsiteY34" fmla="*/ 329358 h 514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23599" h="514492">
                  <a:moveTo>
                    <a:pt x="468887" y="135558"/>
                  </a:moveTo>
                  <a:lnTo>
                    <a:pt x="164693" y="439752"/>
                  </a:lnTo>
                  <a:lnTo>
                    <a:pt x="0" y="439752"/>
                  </a:lnTo>
                  <a:lnTo>
                    <a:pt x="0" y="378908"/>
                  </a:lnTo>
                  <a:lnTo>
                    <a:pt x="139502" y="378908"/>
                  </a:lnTo>
                  <a:lnTo>
                    <a:pt x="443696" y="74741"/>
                  </a:lnTo>
                  <a:lnTo>
                    <a:pt x="443696" y="74741"/>
                  </a:lnTo>
                  <a:lnTo>
                    <a:pt x="443696" y="74741"/>
                  </a:lnTo>
                  <a:lnTo>
                    <a:pt x="536304" y="74741"/>
                  </a:lnTo>
                  <a:lnTo>
                    <a:pt x="493219" y="25191"/>
                  </a:lnTo>
                  <a:lnTo>
                    <a:pt x="518410" y="0"/>
                  </a:lnTo>
                  <a:lnTo>
                    <a:pt x="623599" y="105190"/>
                  </a:lnTo>
                  <a:lnTo>
                    <a:pt x="518410" y="210379"/>
                  </a:lnTo>
                  <a:lnTo>
                    <a:pt x="493219" y="185189"/>
                  </a:lnTo>
                  <a:lnTo>
                    <a:pt x="536304" y="135639"/>
                  </a:lnTo>
                  <a:lnTo>
                    <a:pt x="468887" y="135639"/>
                  </a:lnTo>
                  <a:close/>
                  <a:moveTo>
                    <a:pt x="239675" y="235731"/>
                  </a:moveTo>
                  <a:lnTo>
                    <a:pt x="282706" y="192700"/>
                  </a:lnTo>
                  <a:lnTo>
                    <a:pt x="164720" y="74714"/>
                  </a:lnTo>
                  <a:lnTo>
                    <a:pt x="27" y="74714"/>
                  </a:lnTo>
                  <a:lnTo>
                    <a:pt x="27" y="135558"/>
                  </a:lnTo>
                  <a:lnTo>
                    <a:pt x="139529" y="135558"/>
                  </a:lnTo>
                  <a:lnTo>
                    <a:pt x="239675" y="235731"/>
                  </a:lnTo>
                  <a:close/>
                  <a:moveTo>
                    <a:pt x="493219" y="329358"/>
                  </a:moveTo>
                  <a:lnTo>
                    <a:pt x="536304" y="378908"/>
                  </a:lnTo>
                  <a:lnTo>
                    <a:pt x="468887" y="378908"/>
                  </a:lnTo>
                  <a:lnTo>
                    <a:pt x="368714" y="278735"/>
                  </a:lnTo>
                  <a:lnTo>
                    <a:pt x="325683" y="321766"/>
                  </a:lnTo>
                  <a:lnTo>
                    <a:pt x="443669" y="439752"/>
                  </a:lnTo>
                  <a:lnTo>
                    <a:pt x="536277" y="439752"/>
                  </a:lnTo>
                  <a:lnTo>
                    <a:pt x="493192" y="489302"/>
                  </a:lnTo>
                  <a:lnTo>
                    <a:pt x="518383" y="514493"/>
                  </a:lnTo>
                  <a:lnTo>
                    <a:pt x="623573" y="409303"/>
                  </a:lnTo>
                  <a:lnTo>
                    <a:pt x="518383" y="304114"/>
                  </a:lnTo>
                  <a:lnTo>
                    <a:pt x="493219" y="329358"/>
                  </a:lnTo>
                  <a:close/>
                </a:path>
              </a:pathLst>
            </a:custGeom>
            <a:solidFill>
              <a:schemeClr val="tx2"/>
            </a:solidFill>
            <a:ln w="2681" cap="flat">
              <a:noFill/>
              <a:prstDash val="solid"/>
              <a:miter/>
            </a:ln>
          </p:spPr>
          <p:txBody>
            <a:bodyPr rtlCol="0" anchor="ctr"/>
            <a:lstStyle/>
            <a:p>
              <a:endParaRPr lang="en-US"/>
            </a:p>
          </p:txBody>
        </p:sp>
      </p:grpSp>
      <p:grpSp>
        <p:nvGrpSpPr>
          <p:cNvPr id="29" name="Gruppieren 28">
            <a:extLst>
              <a:ext uri="{FF2B5EF4-FFF2-40B4-BE49-F238E27FC236}">
                <a16:creationId xmlns:a16="http://schemas.microsoft.com/office/drawing/2014/main" id="{7E5965B8-4BC0-41FC-A259-C99C587BC56C}"/>
              </a:ext>
            </a:extLst>
          </p:cNvPr>
          <p:cNvGrpSpPr/>
          <p:nvPr/>
        </p:nvGrpSpPr>
        <p:grpSpPr>
          <a:xfrm>
            <a:off x="5355001" y="5163973"/>
            <a:ext cx="419530" cy="419444"/>
            <a:chOff x="5355001" y="5163973"/>
            <a:chExt cx="419530" cy="419444"/>
          </a:xfrm>
        </p:grpSpPr>
        <p:sp>
          <p:nvSpPr>
            <p:cNvPr id="44" name="Rectangle 12">
              <a:extLst>
                <a:ext uri="{FF2B5EF4-FFF2-40B4-BE49-F238E27FC236}">
                  <a16:creationId xmlns:a16="http://schemas.microsoft.com/office/drawing/2014/main" id="{DE908DD3-1A76-4DB9-AA0A-E976A3FFED25}"/>
                </a:ext>
              </a:extLst>
            </p:cNvPr>
            <p:cNvSpPr>
              <a:spLocks/>
            </p:cNvSpPr>
            <p:nvPr/>
          </p:nvSpPr>
          <p:spPr>
            <a:xfrm>
              <a:off x="5355001" y="5163973"/>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73" name="Grafik 72" descr="Ein Bild, das Pfeil enthält.&#10;&#10;Beschreibung automatisch generiert.">
              <a:extLst>
                <a:ext uri="{FF2B5EF4-FFF2-40B4-BE49-F238E27FC236}">
                  <a16:creationId xmlns:a16="http://schemas.microsoft.com/office/drawing/2014/main" id="{1F6F58AE-7734-40B0-9FCA-14797889311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55652" t="39961" r="11250" b="25000"/>
            <a:stretch/>
          </p:blipFill>
          <p:spPr>
            <a:xfrm>
              <a:off x="5369719" y="5250585"/>
              <a:ext cx="397080" cy="236450"/>
            </a:xfrm>
            <a:custGeom>
              <a:avLst/>
              <a:gdLst>
                <a:gd name="connsiteX0" fmla="*/ 889000 w 4343400"/>
                <a:gd name="connsiteY0" fmla="*/ 0 h 2184400"/>
                <a:gd name="connsiteX1" fmla="*/ 4343400 w 4343400"/>
                <a:gd name="connsiteY1" fmla="*/ 1143000 h 2184400"/>
                <a:gd name="connsiteX2" fmla="*/ 4343400 w 4343400"/>
                <a:gd name="connsiteY2" fmla="*/ 2146300 h 2184400"/>
                <a:gd name="connsiteX3" fmla="*/ 38100 w 4343400"/>
                <a:gd name="connsiteY3" fmla="*/ 2146300 h 2184400"/>
                <a:gd name="connsiteX4" fmla="*/ 0 w 4343400"/>
                <a:gd name="connsiteY4" fmla="*/ 2184400 h 2184400"/>
                <a:gd name="connsiteX5" fmla="*/ 215900 w 4343400"/>
                <a:gd name="connsiteY5" fmla="*/ 57150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400" h="2184400">
                  <a:moveTo>
                    <a:pt x="889000" y="0"/>
                  </a:moveTo>
                  <a:lnTo>
                    <a:pt x="4343400" y="1143000"/>
                  </a:lnTo>
                  <a:lnTo>
                    <a:pt x="4343400" y="2146300"/>
                  </a:lnTo>
                  <a:lnTo>
                    <a:pt x="38100" y="2146300"/>
                  </a:lnTo>
                  <a:lnTo>
                    <a:pt x="0" y="2184400"/>
                  </a:lnTo>
                  <a:lnTo>
                    <a:pt x="215900" y="571500"/>
                  </a:lnTo>
                  <a:close/>
                </a:path>
              </a:pathLst>
            </a:custGeom>
          </p:spPr>
        </p:pic>
      </p:grpSp>
    </p:spTree>
    <p:extLst>
      <p:ext uri="{BB962C8B-B14F-4D97-AF65-F5344CB8AC3E}">
        <p14:creationId xmlns:p14="http://schemas.microsoft.com/office/powerpoint/2010/main" val="37888857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6B5E143-0F81-1315-5CA8-FF10CF6F4DDB}"/>
              </a:ext>
            </a:extLst>
          </p:cNvPr>
          <p:cNvGraphicFramePr>
            <a:graphicFrameLocks noChangeAspect="1"/>
          </p:cNvGraphicFramePr>
          <p:nvPr>
            <p:custDataLst>
              <p:tags r:id="rId1"/>
            </p:custDataLst>
            <p:extLst>
              <p:ext uri="{D42A27DB-BD31-4B8C-83A1-F6EECF244321}">
                <p14:modId xmlns:p14="http://schemas.microsoft.com/office/powerpoint/2010/main" val="26392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5" name="Objekt 4" hidden="1">
                        <a:extLst>
                          <a:ext uri="{FF2B5EF4-FFF2-40B4-BE49-F238E27FC236}">
                            <a16:creationId xmlns:a16="http://schemas.microsoft.com/office/drawing/2014/main" id="{76B5E143-0F81-1315-5CA8-FF10CF6F4D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3" name="Rechteck 202">
            <a:extLst>
              <a:ext uri="{FF2B5EF4-FFF2-40B4-BE49-F238E27FC236}">
                <a16:creationId xmlns:a16="http://schemas.microsoft.com/office/drawing/2014/main" id="{3CB9B77B-513C-F8F8-5CE0-6D47DC9C4A86}"/>
              </a:ext>
            </a:extLst>
          </p:cNvPr>
          <p:cNvSpPr>
            <a:spLocks/>
          </p:cNvSpPr>
          <p:nvPr/>
        </p:nvSpPr>
        <p:spPr>
          <a:xfrm>
            <a:off x="1" y="1679510"/>
            <a:ext cx="12192000" cy="4127566"/>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u="sng"/>
          </a:p>
        </p:txBody>
      </p:sp>
      <p:sp>
        <p:nvSpPr>
          <p:cNvPr id="2" name="Titel 1">
            <a:extLst>
              <a:ext uri="{FF2B5EF4-FFF2-40B4-BE49-F238E27FC236}">
                <a16:creationId xmlns:a16="http://schemas.microsoft.com/office/drawing/2014/main" id="{DCEFB507-10E1-A629-15CD-BEC29610B0EA}"/>
              </a:ext>
            </a:extLst>
          </p:cNvPr>
          <p:cNvSpPr>
            <a:spLocks noGrp="1"/>
          </p:cNvSpPr>
          <p:nvPr>
            <p:ph type="title"/>
          </p:nvPr>
        </p:nvSpPr>
        <p:spPr/>
        <p:txBody>
          <a:bodyPr vert="horz"/>
          <a:lstStyle/>
          <a:p>
            <a:r>
              <a:rPr lang="en-US"/>
              <a:t>Decarbonization of heavy-duty trucks will be possible with dynamic  </a:t>
            </a:r>
            <a:br>
              <a:rPr lang="en-US"/>
            </a:br>
            <a:r>
              <a:rPr lang="en-US"/>
              <a:t>charging and an intelligent combination of drive train technologies </a:t>
            </a:r>
          </a:p>
        </p:txBody>
      </p:sp>
      <p:sp>
        <p:nvSpPr>
          <p:cNvPr id="6" name="Textfeld 5">
            <a:extLst>
              <a:ext uri="{FF2B5EF4-FFF2-40B4-BE49-F238E27FC236}">
                <a16:creationId xmlns:a16="http://schemas.microsoft.com/office/drawing/2014/main" id="{226048DD-9288-2C6B-1294-A9A074EF1363}"/>
              </a:ext>
            </a:extLst>
          </p:cNvPr>
          <p:cNvSpPr txBox="1">
            <a:spLocks/>
          </p:cNvSpPr>
          <p:nvPr/>
        </p:nvSpPr>
        <p:spPr>
          <a:xfrm>
            <a:off x="411161" y="1397005"/>
            <a:ext cx="3221039" cy="221693"/>
          </a:xfrm>
          <a:prstGeom prst="rect">
            <a:avLst/>
          </a:prstGeom>
        </p:spPr>
        <p:txBody>
          <a:bodyPr vert="horz" lIns="0" tIns="0" rIns="0" bIns="0" rtlCol="0">
            <a:no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Technology options for trucks</a:t>
            </a:r>
          </a:p>
        </p:txBody>
      </p:sp>
      <p:sp>
        <p:nvSpPr>
          <p:cNvPr id="8" name="Textfeld 7">
            <a:extLst>
              <a:ext uri="{FF2B5EF4-FFF2-40B4-BE49-F238E27FC236}">
                <a16:creationId xmlns:a16="http://schemas.microsoft.com/office/drawing/2014/main" id="{52F0A041-40CF-CA62-04D9-A33A8B2792FB}"/>
              </a:ext>
            </a:extLst>
          </p:cNvPr>
          <p:cNvSpPr txBox="1">
            <a:spLocks/>
          </p:cNvSpPr>
          <p:nvPr/>
        </p:nvSpPr>
        <p:spPr>
          <a:xfrm>
            <a:off x="3848200" y="1397006"/>
            <a:ext cx="3247749" cy="215444"/>
          </a:xfrm>
          <a:prstGeom prst="rect">
            <a:avLst/>
          </a:prstGeom>
        </p:spPr>
        <p:txBody>
          <a:bodyPr vert="horz" wrap="square" lIns="0" tIns="0" rIns="0" bIns="0" rtlCol="0">
            <a:sp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Key characteristics</a:t>
            </a:r>
          </a:p>
        </p:txBody>
      </p:sp>
      <p:sp>
        <p:nvSpPr>
          <p:cNvPr id="10" name="Textfeld 9">
            <a:extLst>
              <a:ext uri="{FF2B5EF4-FFF2-40B4-BE49-F238E27FC236}">
                <a16:creationId xmlns:a16="http://schemas.microsoft.com/office/drawing/2014/main" id="{9D488780-ACEC-8FFF-C541-6C9124DDB561}"/>
              </a:ext>
            </a:extLst>
          </p:cNvPr>
          <p:cNvSpPr txBox="1">
            <a:spLocks/>
          </p:cNvSpPr>
          <p:nvPr/>
        </p:nvSpPr>
        <p:spPr>
          <a:xfrm>
            <a:off x="7311950" y="1397006"/>
            <a:ext cx="2506004" cy="215444"/>
          </a:xfrm>
          <a:prstGeom prst="rect">
            <a:avLst/>
          </a:prstGeom>
        </p:spPr>
        <p:txBody>
          <a:bodyPr vert="horz" lIns="0" tIns="0" rIns="0" bIns="0" rtlCol="0">
            <a:sp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lvl="2">
              <a:lnSpc>
                <a:spcPct val="100000"/>
              </a:lnSpc>
            </a:pPr>
            <a:r>
              <a:rPr lang="en-US" b="1">
                <a:solidFill>
                  <a:srgbClr val="CCCCD4"/>
                </a:solidFill>
              </a:rPr>
              <a:t>Preferred use case</a:t>
            </a:r>
          </a:p>
        </p:txBody>
      </p:sp>
      <p:sp>
        <p:nvSpPr>
          <p:cNvPr id="119" name="Textfeld 296">
            <a:extLst>
              <a:ext uri="{FF2B5EF4-FFF2-40B4-BE49-F238E27FC236}">
                <a16:creationId xmlns:a16="http://schemas.microsoft.com/office/drawing/2014/main" id="{AE518D0F-B023-4B69-5AD1-452B79983D42}"/>
              </a:ext>
            </a:extLst>
          </p:cNvPr>
          <p:cNvSpPr txBox="1">
            <a:spLocks/>
          </p:cNvSpPr>
          <p:nvPr/>
        </p:nvSpPr>
        <p:spPr>
          <a:xfrm>
            <a:off x="7311949" y="4946170"/>
            <a:ext cx="2506004" cy="369332"/>
          </a:xfrm>
          <a:prstGeom prst="rect">
            <a:avLst/>
          </a:prstGeom>
          <a:noFill/>
        </p:spPr>
        <p:txBody>
          <a:bodyPr wrap="square" lIns="0" tIns="0" rIns="0" bIns="0" rtlCol="0" anchor="ctr">
            <a:spAutoFit/>
          </a:bodyPr>
          <a:lstStyle/>
          <a:p>
            <a:r>
              <a:rPr lang="en-US" sz="1200">
                <a:solidFill>
                  <a:srgbClr val="CCCCD4"/>
                </a:solidFill>
              </a:rPr>
              <a:t>Best for </a:t>
            </a:r>
            <a:r>
              <a:rPr lang="en-US" sz="1200" b="1">
                <a:solidFill>
                  <a:srgbClr val="CCCCD4"/>
                </a:solidFill>
              </a:rPr>
              <a:t>existing fleet</a:t>
            </a:r>
            <a:br>
              <a:rPr lang="en-US" sz="1200" b="1">
                <a:solidFill>
                  <a:srgbClr val="CCCCD4"/>
                </a:solidFill>
              </a:rPr>
            </a:br>
            <a:r>
              <a:rPr lang="en-US" sz="1200" b="1">
                <a:solidFill>
                  <a:srgbClr val="CCCCD4"/>
                </a:solidFill>
              </a:rPr>
              <a:t>decarbonization use case</a:t>
            </a:r>
          </a:p>
        </p:txBody>
      </p:sp>
      <p:sp>
        <p:nvSpPr>
          <p:cNvPr id="120" name="Textfeld 296">
            <a:extLst>
              <a:ext uri="{FF2B5EF4-FFF2-40B4-BE49-F238E27FC236}">
                <a16:creationId xmlns:a16="http://schemas.microsoft.com/office/drawing/2014/main" id="{F6F628AA-4265-000A-6063-88F216E1A3D0}"/>
              </a:ext>
            </a:extLst>
          </p:cNvPr>
          <p:cNvSpPr txBox="1">
            <a:spLocks/>
          </p:cNvSpPr>
          <p:nvPr/>
        </p:nvSpPr>
        <p:spPr>
          <a:xfrm>
            <a:off x="7311949" y="3588924"/>
            <a:ext cx="2506004" cy="369332"/>
          </a:xfrm>
          <a:prstGeom prst="rect">
            <a:avLst/>
          </a:prstGeom>
          <a:noFill/>
        </p:spPr>
        <p:txBody>
          <a:bodyPr wrap="square" lIns="0" tIns="0" rIns="0" bIns="0" rtlCol="0" anchor="ctr">
            <a:spAutoFit/>
          </a:bodyPr>
          <a:lstStyle/>
          <a:p>
            <a:r>
              <a:rPr lang="en-US" sz="1200">
                <a:solidFill>
                  <a:srgbClr val="CCCCD4"/>
                </a:solidFill>
              </a:rPr>
              <a:t>Best for decarbonized </a:t>
            </a:r>
            <a:br>
              <a:rPr lang="en-US" sz="1200">
                <a:solidFill>
                  <a:srgbClr val="CCCCD4"/>
                </a:solidFill>
              </a:rPr>
            </a:br>
            <a:r>
              <a:rPr lang="en-US" sz="1200" b="1">
                <a:solidFill>
                  <a:srgbClr val="CCCCD4"/>
                </a:solidFill>
              </a:rPr>
              <a:t>urban distribution use case</a:t>
            </a:r>
          </a:p>
        </p:txBody>
      </p:sp>
      <p:sp>
        <p:nvSpPr>
          <p:cNvPr id="123" name="Textfeld 296">
            <a:extLst>
              <a:ext uri="{FF2B5EF4-FFF2-40B4-BE49-F238E27FC236}">
                <a16:creationId xmlns:a16="http://schemas.microsoft.com/office/drawing/2014/main" id="{F2411DDD-8829-8C9D-AC04-27AAA0E87E9D}"/>
              </a:ext>
            </a:extLst>
          </p:cNvPr>
          <p:cNvSpPr txBox="1">
            <a:spLocks/>
          </p:cNvSpPr>
          <p:nvPr/>
        </p:nvSpPr>
        <p:spPr>
          <a:xfrm>
            <a:off x="7311950" y="2134580"/>
            <a:ext cx="2506004" cy="553998"/>
          </a:xfrm>
          <a:prstGeom prst="rect">
            <a:avLst/>
          </a:prstGeom>
          <a:noFill/>
        </p:spPr>
        <p:txBody>
          <a:bodyPr wrap="square" lIns="0" tIns="0" rIns="0" bIns="0" rtlCol="0" anchor="ctr">
            <a:spAutoFit/>
          </a:bodyPr>
          <a:lstStyle/>
          <a:p>
            <a:pPr defTabSz="913486"/>
            <a:r>
              <a:rPr lang="en-US" sz="1200">
                <a:solidFill>
                  <a:srgbClr val="CCCCD4"/>
                </a:solidFill>
              </a:rPr>
              <a:t>Best for </a:t>
            </a:r>
            <a:r>
              <a:rPr lang="en-US" sz="1200" b="1">
                <a:solidFill>
                  <a:srgbClr val="CCCCD4"/>
                </a:solidFill>
              </a:rPr>
              <a:t>long range </a:t>
            </a:r>
            <a:br>
              <a:rPr lang="en-US" sz="1200" b="1">
                <a:solidFill>
                  <a:srgbClr val="CCCCD4"/>
                </a:solidFill>
              </a:rPr>
            </a:br>
            <a:r>
              <a:rPr lang="en-US" sz="1200" b="1">
                <a:solidFill>
                  <a:srgbClr val="CCCCD4"/>
                </a:solidFill>
              </a:rPr>
              <a:t>use case in which </a:t>
            </a:r>
            <a:br>
              <a:rPr lang="en-US" sz="1200" b="1">
                <a:solidFill>
                  <a:srgbClr val="CCCCD4"/>
                </a:solidFill>
              </a:rPr>
            </a:br>
            <a:r>
              <a:rPr lang="en-US" sz="1200" b="1">
                <a:solidFill>
                  <a:srgbClr val="CCCCD4"/>
                </a:solidFill>
              </a:rPr>
              <a:t>electrification is not economical</a:t>
            </a:r>
          </a:p>
        </p:txBody>
      </p:sp>
      <p:sp>
        <p:nvSpPr>
          <p:cNvPr id="95" name="TextBox 315">
            <a:extLst>
              <a:ext uri="{FF2B5EF4-FFF2-40B4-BE49-F238E27FC236}">
                <a16:creationId xmlns:a16="http://schemas.microsoft.com/office/drawing/2014/main" id="{52FE2F84-0A33-47EB-412C-CD42843BEC39}"/>
              </a:ext>
            </a:extLst>
          </p:cNvPr>
          <p:cNvSpPr txBox="1">
            <a:spLocks/>
          </p:cNvSpPr>
          <p:nvPr/>
        </p:nvSpPr>
        <p:spPr>
          <a:xfrm>
            <a:off x="411163" y="6137281"/>
            <a:ext cx="8124757" cy="14048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b="1">
                <a:solidFill>
                  <a:schemeClr val="bg1"/>
                </a:solidFill>
              </a:rPr>
              <a:t>1 </a:t>
            </a:r>
            <a:r>
              <a:rPr lang="en-US" sz="900">
                <a:solidFill>
                  <a:schemeClr val="bg1"/>
                </a:solidFill>
              </a:rPr>
              <a:t>Assuming that a truck with hybrid-electric drive train is used </a:t>
            </a:r>
            <a:r>
              <a:rPr lang="en-US" sz="900">
                <a:solidFill>
                  <a:schemeClr val="bg1"/>
                </a:solidFill>
                <a:ea typeface="ＭＳ Ｐゴシック" charset="-128"/>
              </a:rPr>
              <a:t>|</a:t>
            </a:r>
            <a:r>
              <a:rPr lang="en-US" sz="900">
                <a:solidFill>
                  <a:schemeClr val="bg1"/>
                </a:solidFill>
              </a:rPr>
              <a:t> </a:t>
            </a:r>
            <a:r>
              <a:rPr lang="en-US" sz="900" b="1">
                <a:solidFill>
                  <a:schemeClr val="bg1"/>
                </a:solidFill>
              </a:rPr>
              <a:t>2</a:t>
            </a:r>
            <a:r>
              <a:rPr lang="en-US" sz="900">
                <a:solidFill>
                  <a:schemeClr val="bg1"/>
                </a:solidFill>
              </a:rPr>
              <a:t> Synthetic fuels require renewable energy for its production</a:t>
            </a:r>
          </a:p>
        </p:txBody>
      </p:sp>
      <p:sp>
        <p:nvSpPr>
          <p:cNvPr id="102" name="Textfeld 101">
            <a:extLst>
              <a:ext uri="{FF2B5EF4-FFF2-40B4-BE49-F238E27FC236}">
                <a16:creationId xmlns:a16="http://schemas.microsoft.com/office/drawing/2014/main" id="{6597E0E4-5044-4317-B097-5C087EA1B41C}"/>
              </a:ext>
            </a:extLst>
          </p:cNvPr>
          <p:cNvSpPr txBox="1">
            <a:spLocks/>
          </p:cNvSpPr>
          <p:nvPr/>
        </p:nvSpPr>
        <p:spPr>
          <a:xfrm>
            <a:off x="411163" y="2757914"/>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Hydrogen fuel cell power</a:t>
            </a:r>
          </a:p>
        </p:txBody>
      </p:sp>
      <p:sp>
        <p:nvSpPr>
          <p:cNvPr id="300" name="Textfeld 299">
            <a:extLst>
              <a:ext uri="{FF2B5EF4-FFF2-40B4-BE49-F238E27FC236}">
                <a16:creationId xmlns:a16="http://schemas.microsoft.com/office/drawing/2014/main" id="{02F7DD01-1F95-460B-B9E5-EB4B29A4D09B}"/>
              </a:ext>
            </a:extLst>
          </p:cNvPr>
          <p:cNvSpPr txBox="1">
            <a:spLocks/>
          </p:cNvSpPr>
          <p:nvPr/>
        </p:nvSpPr>
        <p:spPr>
          <a:xfrm>
            <a:off x="411163" y="4119925"/>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Battery electric power</a:t>
            </a:r>
          </a:p>
        </p:txBody>
      </p:sp>
      <p:sp>
        <p:nvSpPr>
          <p:cNvPr id="331" name="Textfeld 330">
            <a:extLst>
              <a:ext uri="{FF2B5EF4-FFF2-40B4-BE49-F238E27FC236}">
                <a16:creationId xmlns:a16="http://schemas.microsoft.com/office/drawing/2014/main" id="{3EC9674D-0A1D-4296-BC7F-527549FF6B19}"/>
              </a:ext>
            </a:extLst>
          </p:cNvPr>
          <p:cNvSpPr txBox="1">
            <a:spLocks/>
          </p:cNvSpPr>
          <p:nvPr/>
        </p:nvSpPr>
        <p:spPr>
          <a:xfrm>
            <a:off x="411163" y="5481935"/>
            <a:ext cx="3221037" cy="187424"/>
          </a:xfrm>
          <a:prstGeom prst="rect">
            <a:avLst/>
          </a:prstGeom>
          <a:noFill/>
        </p:spPr>
        <p:txBody>
          <a:bodyPr wrap="square" lIns="0" tIns="0" rIns="0" bIns="0" rtlCol="0">
            <a:spAutoFit/>
          </a:bodyPr>
          <a:lstStyle/>
          <a:p>
            <a:pPr defTabSz="913486"/>
            <a:r>
              <a:rPr lang="en-US" sz="1200" b="1">
                <a:solidFill>
                  <a:schemeClr val="accent2"/>
                </a:solidFill>
                <a:ea typeface="Arial Unicode MS" panose="020B0604020202020204" pitchFamily="34" charset="-128"/>
                <a:cs typeface="Arial" panose="020B0604020202020204" pitchFamily="34" charset="0"/>
              </a:rPr>
              <a:t>Hybrid with synthetic/bio-fuel</a:t>
            </a:r>
          </a:p>
        </p:txBody>
      </p:sp>
      <p:grpSp>
        <p:nvGrpSpPr>
          <p:cNvPr id="75" name="Gruppieren 74">
            <a:extLst>
              <a:ext uri="{FF2B5EF4-FFF2-40B4-BE49-F238E27FC236}">
                <a16:creationId xmlns:a16="http://schemas.microsoft.com/office/drawing/2014/main" id="{9173062E-2B56-4D88-A202-4B5B1BCE758F}"/>
              </a:ext>
            </a:extLst>
          </p:cNvPr>
          <p:cNvGrpSpPr>
            <a:grpSpLocks/>
          </p:cNvGrpSpPr>
          <p:nvPr/>
        </p:nvGrpSpPr>
        <p:grpSpPr>
          <a:xfrm>
            <a:off x="3848200" y="1959635"/>
            <a:ext cx="3247749" cy="903888"/>
            <a:chOff x="3848200" y="1911650"/>
            <a:chExt cx="3247749" cy="903888"/>
          </a:xfrm>
        </p:grpSpPr>
        <p:sp>
          <p:nvSpPr>
            <p:cNvPr id="169" name="Textfeld 293">
              <a:extLst>
                <a:ext uri="{FF2B5EF4-FFF2-40B4-BE49-F238E27FC236}">
                  <a16:creationId xmlns:a16="http://schemas.microsoft.com/office/drawing/2014/main" id="{F057FFBD-52FB-B408-6180-0D67AB452F9E}"/>
                </a:ext>
              </a:extLst>
            </p:cNvPr>
            <p:cNvSpPr txBox="1">
              <a:spLocks/>
            </p:cNvSpPr>
            <p:nvPr/>
          </p:nvSpPr>
          <p:spPr>
            <a:xfrm>
              <a:off x="4245971" y="2446206"/>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High operational cost </a:t>
              </a:r>
              <a:br>
                <a:rPr lang="en-US" sz="1200">
                  <a:solidFill>
                    <a:schemeClr val="bg1">
                      <a:lumMod val="85000"/>
                    </a:schemeClr>
                  </a:solidFill>
                </a:rPr>
              </a:br>
              <a:r>
                <a:rPr lang="en-US" sz="1200">
                  <a:solidFill>
                    <a:schemeClr val="bg1">
                      <a:lumMod val="85000"/>
                    </a:schemeClr>
                  </a:solidFill>
                </a:rPr>
                <a:t>(e.g., due to fuel price, efficiency) </a:t>
              </a:r>
            </a:p>
          </p:txBody>
        </p:sp>
        <p:grpSp>
          <p:nvGrpSpPr>
            <p:cNvPr id="70" name="Gruppieren 69">
              <a:extLst>
                <a:ext uri="{FF2B5EF4-FFF2-40B4-BE49-F238E27FC236}">
                  <a16:creationId xmlns:a16="http://schemas.microsoft.com/office/drawing/2014/main" id="{2D1055AD-EC8B-4586-8DE8-5F22E5A1D3DF}"/>
                </a:ext>
              </a:extLst>
            </p:cNvPr>
            <p:cNvGrpSpPr>
              <a:grpSpLocks/>
            </p:cNvGrpSpPr>
            <p:nvPr/>
          </p:nvGrpSpPr>
          <p:grpSpPr>
            <a:xfrm>
              <a:off x="3848200" y="1971035"/>
              <a:ext cx="250758" cy="250563"/>
              <a:chOff x="4306777" y="2049666"/>
              <a:chExt cx="250758" cy="250563"/>
            </a:xfrm>
          </p:grpSpPr>
          <p:sp>
            <p:nvSpPr>
              <p:cNvPr id="171" name="Rectangle 873">
                <a:extLst>
                  <a:ext uri="{FF2B5EF4-FFF2-40B4-BE49-F238E27FC236}">
                    <a16:creationId xmlns:a16="http://schemas.microsoft.com/office/drawing/2014/main" id="{061F3A43-3433-B038-A1D6-8147677A79A2}"/>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172" name="Freeform 874">
                <a:extLst>
                  <a:ext uri="{FF2B5EF4-FFF2-40B4-BE49-F238E27FC236}">
                    <a16:creationId xmlns:a16="http://schemas.microsoft.com/office/drawing/2014/main" id="{6B595874-CDDB-8AFA-FE69-E5D169B37151}"/>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sp>
          <p:nvSpPr>
            <p:cNvPr id="173" name="Textfeld 291">
              <a:extLst>
                <a:ext uri="{FF2B5EF4-FFF2-40B4-BE49-F238E27FC236}">
                  <a16:creationId xmlns:a16="http://schemas.microsoft.com/office/drawing/2014/main" id="{E94C0E30-95F6-15C3-131D-77602B8BBD82}"/>
                </a:ext>
              </a:extLst>
            </p:cNvPr>
            <p:cNvSpPr txBox="1">
              <a:spLocks/>
            </p:cNvSpPr>
            <p:nvPr/>
          </p:nvSpPr>
          <p:spPr>
            <a:xfrm>
              <a:off x="4245971" y="1911650"/>
              <a:ext cx="2849978" cy="369332"/>
            </a:xfrm>
            <a:prstGeom prst="rect">
              <a:avLst/>
            </a:prstGeom>
            <a:noFill/>
          </p:spPr>
          <p:txBody>
            <a:bodyPr wrap="square" lIns="0" tIns="0" rIns="0" bIns="0" rtlCol="0" anchor="ctr">
              <a:noAutofit/>
            </a:bodyPr>
            <a:lstStyle/>
            <a:p>
              <a:r>
                <a:rPr lang="en-US" sz="1200">
                  <a:solidFill>
                    <a:schemeClr val="bg1">
                      <a:lumMod val="85000"/>
                    </a:schemeClr>
                  </a:solidFill>
                </a:rPr>
                <a:t>High range to mass ratio</a:t>
              </a:r>
            </a:p>
          </p:txBody>
        </p:sp>
        <p:grpSp>
          <p:nvGrpSpPr>
            <p:cNvPr id="69" name="Gruppieren 68">
              <a:extLst>
                <a:ext uri="{FF2B5EF4-FFF2-40B4-BE49-F238E27FC236}">
                  <a16:creationId xmlns:a16="http://schemas.microsoft.com/office/drawing/2014/main" id="{64B1FAD4-151C-4304-8730-BC9568CE31B1}"/>
                </a:ext>
              </a:extLst>
            </p:cNvPr>
            <p:cNvGrpSpPr>
              <a:grpSpLocks/>
            </p:cNvGrpSpPr>
            <p:nvPr/>
          </p:nvGrpSpPr>
          <p:grpSpPr>
            <a:xfrm>
              <a:off x="3848200" y="2505590"/>
              <a:ext cx="250094" cy="250563"/>
              <a:chOff x="4306777" y="2541118"/>
              <a:chExt cx="250094" cy="250563"/>
            </a:xfrm>
          </p:grpSpPr>
          <p:sp>
            <p:nvSpPr>
              <p:cNvPr id="167" name="Rectangle 876">
                <a:extLst>
                  <a:ext uri="{FF2B5EF4-FFF2-40B4-BE49-F238E27FC236}">
                    <a16:creationId xmlns:a16="http://schemas.microsoft.com/office/drawing/2014/main" id="{3DC082DC-F382-52B9-798E-31DCC70F2338}"/>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389" name="Freihandform: Form 388">
                <a:extLst>
                  <a:ext uri="{FF2B5EF4-FFF2-40B4-BE49-F238E27FC236}">
                    <a16:creationId xmlns:a16="http://schemas.microsoft.com/office/drawing/2014/main" id="{0DEAA5E8-8BCA-425B-8FC1-E7E83B5098AA}"/>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grpSp>
        <p:nvGrpSpPr>
          <p:cNvPr id="79" name="Gruppieren 78">
            <a:extLst>
              <a:ext uri="{FF2B5EF4-FFF2-40B4-BE49-F238E27FC236}">
                <a16:creationId xmlns:a16="http://schemas.microsoft.com/office/drawing/2014/main" id="{0EE7BE4E-000F-47E6-8EE5-B305805CEB55}"/>
              </a:ext>
            </a:extLst>
          </p:cNvPr>
          <p:cNvGrpSpPr>
            <a:grpSpLocks/>
          </p:cNvGrpSpPr>
          <p:nvPr/>
        </p:nvGrpSpPr>
        <p:grpSpPr>
          <a:xfrm>
            <a:off x="3848200" y="3332258"/>
            <a:ext cx="3247749" cy="882664"/>
            <a:chOff x="3848200" y="3436880"/>
            <a:chExt cx="3247749" cy="882664"/>
          </a:xfrm>
        </p:grpSpPr>
        <p:grpSp>
          <p:nvGrpSpPr>
            <p:cNvPr id="72" name="Gruppieren 71">
              <a:extLst>
                <a:ext uri="{FF2B5EF4-FFF2-40B4-BE49-F238E27FC236}">
                  <a16:creationId xmlns:a16="http://schemas.microsoft.com/office/drawing/2014/main" id="{4C866B6D-0174-4603-829C-102BDCFDE1CF}"/>
                </a:ext>
              </a:extLst>
            </p:cNvPr>
            <p:cNvGrpSpPr/>
            <p:nvPr/>
          </p:nvGrpSpPr>
          <p:grpSpPr>
            <a:xfrm>
              <a:off x="4245971" y="3436880"/>
              <a:ext cx="2849978" cy="882664"/>
              <a:chOff x="4245971" y="3436880"/>
              <a:chExt cx="2849978" cy="882664"/>
            </a:xfrm>
          </p:grpSpPr>
          <p:sp>
            <p:nvSpPr>
              <p:cNvPr id="182" name="Textfeld 293">
                <a:extLst>
                  <a:ext uri="{FF2B5EF4-FFF2-40B4-BE49-F238E27FC236}">
                    <a16:creationId xmlns:a16="http://schemas.microsoft.com/office/drawing/2014/main" id="{A071DC05-A2BC-7DC9-4FA2-8EA50B5D78D3}"/>
                  </a:ext>
                </a:extLst>
              </p:cNvPr>
              <p:cNvSpPr txBox="1">
                <a:spLocks/>
              </p:cNvSpPr>
              <p:nvPr/>
            </p:nvSpPr>
            <p:spPr>
              <a:xfrm>
                <a:off x="4245971" y="3950212"/>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Limited range</a:t>
                </a:r>
              </a:p>
            </p:txBody>
          </p:sp>
          <p:sp>
            <p:nvSpPr>
              <p:cNvPr id="189" name="Textfeld 297">
                <a:extLst>
                  <a:ext uri="{FF2B5EF4-FFF2-40B4-BE49-F238E27FC236}">
                    <a16:creationId xmlns:a16="http://schemas.microsoft.com/office/drawing/2014/main" id="{10983BDF-F482-3978-22BB-3538409DD2A2}"/>
                  </a:ext>
                </a:extLst>
              </p:cNvPr>
              <p:cNvSpPr txBox="1">
                <a:spLocks/>
              </p:cNvSpPr>
              <p:nvPr/>
            </p:nvSpPr>
            <p:spPr>
              <a:xfrm>
                <a:off x="4245971" y="3436880"/>
                <a:ext cx="2849978" cy="369332"/>
              </a:xfrm>
              <a:prstGeom prst="rect">
                <a:avLst/>
              </a:prstGeom>
              <a:noFill/>
            </p:spPr>
            <p:txBody>
              <a:bodyPr wrap="square" lIns="0" tIns="0" rIns="0" bIns="0" rtlCol="0" anchor="ctr">
                <a:noAutofit/>
              </a:bodyPr>
              <a:lstStyle/>
              <a:p>
                <a:pPr defTabSz="913486"/>
                <a:r>
                  <a:rPr lang="en-US" sz="1200">
                    <a:solidFill>
                      <a:schemeClr val="bg1">
                        <a:lumMod val="85000"/>
                      </a:schemeClr>
                    </a:solidFill>
                  </a:rPr>
                  <a:t>Technology eco-system proven </a:t>
                </a:r>
                <a:br>
                  <a:rPr lang="en-US" sz="1200">
                    <a:solidFill>
                      <a:schemeClr val="bg1">
                        <a:lumMod val="85000"/>
                      </a:schemeClr>
                    </a:solidFill>
                  </a:rPr>
                </a:br>
                <a:r>
                  <a:rPr lang="en-US" sz="1200">
                    <a:solidFill>
                      <a:schemeClr val="bg1">
                        <a:lumMod val="85000"/>
                      </a:schemeClr>
                    </a:solidFill>
                  </a:rPr>
                  <a:t>with light duty vehicles</a:t>
                </a:r>
              </a:p>
            </p:txBody>
          </p:sp>
        </p:grpSp>
        <p:grpSp>
          <p:nvGrpSpPr>
            <p:cNvPr id="71" name="Gruppieren 70">
              <a:extLst>
                <a:ext uri="{FF2B5EF4-FFF2-40B4-BE49-F238E27FC236}">
                  <a16:creationId xmlns:a16="http://schemas.microsoft.com/office/drawing/2014/main" id="{E081A120-354E-489C-930B-F8D884D3E2CD}"/>
                </a:ext>
              </a:extLst>
            </p:cNvPr>
            <p:cNvGrpSpPr/>
            <p:nvPr/>
          </p:nvGrpSpPr>
          <p:grpSpPr>
            <a:xfrm>
              <a:off x="3848200" y="3478406"/>
              <a:ext cx="250758" cy="785118"/>
              <a:chOff x="3848200" y="3478406"/>
              <a:chExt cx="250758" cy="785118"/>
            </a:xfrm>
          </p:grpSpPr>
          <p:grpSp>
            <p:nvGrpSpPr>
              <p:cNvPr id="390" name="Gruppieren 389">
                <a:extLst>
                  <a:ext uri="{FF2B5EF4-FFF2-40B4-BE49-F238E27FC236}">
                    <a16:creationId xmlns:a16="http://schemas.microsoft.com/office/drawing/2014/main" id="{2DAC98C8-1FF6-4495-948E-0BC86D1D45E6}"/>
                  </a:ext>
                </a:extLst>
              </p:cNvPr>
              <p:cNvGrpSpPr>
                <a:grpSpLocks/>
              </p:cNvGrpSpPr>
              <p:nvPr/>
            </p:nvGrpSpPr>
            <p:grpSpPr>
              <a:xfrm>
                <a:off x="3848200" y="3478406"/>
                <a:ext cx="250758" cy="250563"/>
                <a:chOff x="4306777" y="2049666"/>
                <a:chExt cx="250758" cy="250563"/>
              </a:xfrm>
            </p:grpSpPr>
            <p:sp>
              <p:nvSpPr>
                <p:cNvPr id="391" name="Rectangle 873">
                  <a:extLst>
                    <a:ext uri="{FF2B5EF4-FFF2-40B4-BE49-F238E27FC236}">
                      <a16:creationId xmlns:a16="http://schemas.microsoft.com/office/drawing/2014/main" id="{9BAFEDA6-10E8-42A6-9CB4-BD92D40E6E2B}"/>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392" name="Freeform 874">
                  <a:extLst>
                    <a:ext uri="{FF2B5EF4-FFF2-40B4-BE49-F238E27FC236}">
                      <a16:creationId xmlns:a16="http://schemas.microsoft.com/office/drawing/2014/main" id="{0E6B61C2-191B-4F0D-B903-EA8F47091E38}"/>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grpSp>
            <p:nvGrpSpPr>
              <p:cNvPr id="393" name="Gruppieren 392">
                <a:extLst>
                  <a:ext uri="{FF2B5EF4-FFF2-40B4-BE49-F238E27FC236}">
                    <a16:creationId xmlns:a16="http://schemas.microsoft.com/office/drawing/2014/main" id="{93CC5B7C-7CC1-4978-B5F1-94FDB96AC15F}"/>
                  </a:ext>
                </a:extLst>
              </p:cNvPr>
              <p:cNvGrpSpPr>
                <a:grpSpLocks/>
              </p:cNvGrpSpPr>
              <p:nvPr/>
            </p:nvGrpSpPr>
            <p:grpSpPr>
              <a:xfrm>
                <a:off x="3848200" y="4012961"/>
                <a:ext cx="250094" cy="250563"/>
                <a:chOff x="4306777" y="2541118"/>
                <a:chExt cx="250094" cy="250563"/>
              </a:xfrm>
            </p:grpSpPr>
            <p:sp>
              <p:nvSpPr>
                <p:cNvPr id="394" name="Rectangle 876">
                  <a:extLst>
                    <a:ext uri="{FF2B5EF4-FFF2-40B4-BE49-F238E27FC236}">
                      <a16:creationId xmlns:a16="http://schemas.microsoft.com/office/drawing/2014/main" id="{1D2EAD84-AE12-4AD1-8250-E210798A7CE6}"/>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395" name="Freihandform: Form 394">
                  <a:extLst>
                    <a:ext uri="{FF2B5EF4-FFF2-40B4-BE49-F238E27FC236}">
                      <a16:creationId xmlns:a16="http://schemas.microsoft.com/office/drawing/2014/main" id="{16D6D4B2-4C1E-4438-8DFF-3BA93EA2CC9D}"/>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grpSp>
      <p:grpSp>
        <p:nvGrpSpPr>
          <p:cNvPr id="78" name="Gruppieren 77">
            <a:extLst>
              <a:ext uri="{FF2B5EF4-FFF2-40B4-BE49-F238E27FC236}">
                <a16:creationId xmlns:a16="http://schemas.microsoft.com/office/drawing/2014/main" id="{D37512C9-EF8A-444E-B60A-62D9D64D7290}"/>
              </a:ext>
            </a:extLst>
          </p:cNvPr>
          <p:cNvGrpSpPr>
            <a:grpSpLocks/>
          </p:cNvGrpSpPr>
          <p:nvPr/>
        </p:nvGrpSpPr>
        <p:grpSpPr>
          <a:xfrm>
            <a:off x="3848200" y="4689504"/>
            <a:ext cx="3247749" cy="882664"/>
            <a:chOff x="3848200" y="4792171"/>
            <a:chExt cx="3247749" cy="882664"/>
          </a:xfrm>
        </p:grpSpPr>
        <p:sp>
          <p:nvSpPr>
            <p:cNvPr id="174" name="Textfeld 293">
              <a:extLst>
                <a:ext uri="{FF2B5EF4-FFF2-40B4-BE49-F238E27FC236}">
                  <a16:creationId xmlns:a16="http://schemas.microsoft.com/office/drawing/2014/main" id="{BD0427C2-22D5-FD70-5B0B-A810100A0D12}"/>
                </a:ext>
              </a:extLst>
            </p:cNvPr>
            <p:cNvSpPr txBox="1">
              <a:spLocks/>
            </p:cNvSpPr>
            <p:nvPr/>
          </p:nvSpPr>
          <p:spPr>
            <a:xfrm>
              <a:off x="4245971" y="5305503"/>
              <a:ext cx="2849978" cy="369332"/>
            </a:xfrm>
            <a:prstGeom prst="rect">
              <a:avLst/>
            </a:prstGeom>
            <a:noFill/>
          </p:spPr>
          <p:txBody>
            <a:bodyPr wrap="square" lIns="0" tIns="0" rIns="0" bIns="0" rtlCol="0" anchor="ctr">
              <a:noAutofit/>
            </a:bodyPr>
            <a:lstStyle/>
            <a:p>
              <a:pPr defTabSz="913486">
                <a:defRPr/>
              </a:pPr>
              <a:r>
                <a:rPr lang="en-US" sz="1200">
                  <a:solidFill>
                    <a:schemeClr val="bg1">
                      <a:lumMod val="85000"/>
                    </a:schemeClr>
                  </a:solidFill>
                </a:rPr>
                <a:t>Limited availability of fuels</a:t>
              </a:r>
            </a:p>
          </p:txBody>
        </p:sp>
        <p:sp>
          <p:nvSpPr>
            <p:cNvPr id="181" name="Textfeld 294">
              <a:extLst>
                <a:ext uri="{FF2B5EF4-FFF2-40B4-BE49-F238E27FC236}">
                  <a16:creationId xmlns:a16="http://schemas.microsoft.com/office/drawing/2014/main" id="{E4732692-DE62-D9FA-8F95-1C8BC4BF6FE7}"/>
                </a:ext>
              </a:extLst>
            </p:cNvPr>
            <p:cNvSpPr txBox="1">
              <a:spLocks/>
            </p:cNvSpPr>
            <p:nvPr/>
          </p:nvSpPr>
          <p:spPr>
            <a:xfrm>
              <a:off x="4245971" y="4792171"/>
              <a:ext cx="2849978" cy="369332"/>
            </a:xfrm>
            <a:prstGeom prst="rect">
              <a:avLst/>
            </a:prstGeom>
            <a:noFill/>
          </p:spPr>
          <p:txBody>
            <a:bodyPr wrap="square" lIns="0" tIns="0" rIns="0" bIns="0" rtlCol="0" anchor="ctr">
              <a:noAutofit/>
            </a:bodyPr>
            <a:lstStyle/>
            <a:p>
              <a:r>
                <a:rPr lang="en-US" sz="1200">
                  <a:solidFill>
                    <a:schemeClr val="bg1">
                      <a:lumMod val="85000"/>
                    </a:schemeClr>
                  </a:solidFill>
                </a:rPr>
                <a:t>Available infrastructure, suitable </a:t>
              </a:r>
              <a:br>
                <a:rPr lang="en-US" sz="1200">
                  <a:solidFill>
                    <a:schemeClr val="bg1">
                      <a:lumMod val="85000"/>
                    </a:schemeClr>
                  </a:solidFill>
                </a:rPr>
              </a:br>
              <a:r>
                <a:rPr lang="en-US" sz="1200">
                  <a:solidFill>
                    <a:schemeClr val="bg1">
                      <a:lumMod val="85000"/>
                    </a:schemeClr>
                  </a:solidFill>
                </a:rPr>
                <a:t>to decarbonize existing fleet </a:t>
              </a:r>
              <a:r>
                <a:rPr lang="en-US" sz="1200" baseline="30000">
                  <a:solidFill>
                    <a:schemeClr val="bg1">
                      <a:lumMod val="85000"/>
                    </a:schemeClr>
                  </a:solidFill>
                </a:rPr>
                <a:t>1,2</a:t>
              </a:r>
            </a:p>
          </p:txBody>
        </p:sp>
        <p:grpSp>
          <p:nvGrpSpPr>
            <p:cNvPr id="397" name="Gruppieren 396">
              <a:extLst>
                <a:ext uri="{FF2B5EF4-FFF2-40B4-BE49-F238E27FC236}">
                  <a16:creationId xmlns:a16="http://schemas.microsoft.com/office/drawing/2014/main" id="{C00E9DD2-F20F-4515-A63A-02A8418921D4}"/>
                </a:ext>
              </a:extLst>
            </p:cNvPr>
            <p:cNvGrpSpPr>
              <a:grpSpLocks/>
            </p:cNvGrpSpPr>
            <p:nvPr/>
          </p:nvGrpSpPr>
          <p:grpSpPr>
            <a:xfrm>
              <a:off x="3848200" y="4851555"/>
              <a:ext cx="250758" cy="250563"/>
              <a:chOff x="4306777" y="2049666"/>
              <a:chExt cx="250758" cy="250563"/>
            </a:xfrm>
          </p:grpSpPr>
          <p:sp>
            <p:nvSpPr>
              <p:cNvPr id="401" name="Rectangle 873">
                <a:extLst>
                  <a:ext uri="{FF2B5EF4-FFF2-40B4-BE49-F238E27FC236}">
                    <a16:creationId xmlns:a16="http://schemas.microsoft.com/office/drawing/2014/main" id="{3A90F93E-69AF-47C6-A6B7-AA3429A90E53}"/>
                  </a:ext>
                </a:extLst>
              </p:cNvPr>
              <p:cNvSpPr>
                <a:spLocks noChangeAspect="1" noChangeArrowheads="1"/>
              </p:cNvSpPr>
              <p:nvPr/>
            </p:nvSpPr>
            <p:spPr bwMode="gray">
              <a:xfrm>
                <a:off x="4306777" y="2049666"/>
                <a:ext cx="250758" cy="250563"/>
              </a:xfrm>
              <a:prstGeom prst="rect">
                <a:avLst/>
              </a:prstGeom>
              <a:solidFill>
                <a:schemeClr val="accent2"/>
              </a:solidFill>
              <a:ln w="9525" algn="ctr">
                <a:noFill/>
                <a:miter lim="800000"/>
                <a:headEnd/>
                <a:tailEnd/>
              </a:ln>
              <a:effectLst/>
            </p:spPr>
            <p:txBody>
              <a:bodyPr lIns="0" tIns="0" rIns="0" bIns="0" anchor="ctr"/>
              <a:lstStyle/>
              <a:p>
                <a:pPr algn="ctr" defTabSz="913486" eaLnBrk="0" hangingPunct="0">
                  <a:buSzPct val="115000"/>
                </a:pPr>
                <a:endParaRPr lang="en-US" sz="1400" b="1">
                  <a:solidFill>
                    <a:srgbClr val="233746"/>
                  </a:solidFill>
                </a:endParaRPr>
              </a:p>
            </p:txBody>
          </p:sp>
          <p:sp>
            <p:nvSpPr>
              <p:cNvPr id="402" name="Freeform 874">
                <a:extLst>
                  <a:ext uri="{FF2B5EF4-FFF2-40B4-BE49-F238E27FC236}">
                    <a16:creationId xmlns:a16="http://schemas.microsoft.com/office/drawing/2014/main" id="{A23BA137-54B0-44E5-8B59-5CE17DAEFD6D}"/>
                  </a:ext>
                </a:extLst>
              </p:cNvPr>
              <p:cNvSpPr>
                <a:spLocks noChangeAspect="1"/>
              </p:cNvSpPr>
              <p:nvPr/>
            </p:nvSpPr>
            <p:spPr bwMode="auto">
              <a:xfrm>
                <a:off x="4367066" y="2109928"/>
                <a:ext cx="130140" cy="130039"/>
              </a:xfrm>
              <a:custGeom>
                <a:avLst/>
                <a:gdLst/>
                <a:ahLst/>
                <a:cxnLst>
                  <a:cxn ang="0">
                    <a:pos x="1463" y="3894"/>
                  </a:cxn>
                  <a:cxn ang="0">
                    <a:pos x="1463" y="2446"/>
                  </a:cxn>
                  <a:cxn ang="0">
                    <a:pos x="0" y="2446"/>
                  </a:cxn>
                  <a:cxn ang="0">
                    <a:pos x="0" y="1447"/>
                  </a:cxn>
                  <a:cxn ang="0">
                    <a:pos x="1463" y="1447"/>
                  </a:cxn>
                  <a:cxn ang="0">
                    <a:pos x="1463" y="0"/>
                  </a:cxn>
                  <a:cxn ang="0">
                    <a:pos x="2438" y="0"/>
                  </a:cxn>
                  <a:cxn ang="0">
                    <a:pos x="2438" y="1447"/>
                  </a:cxn>
                  <a:cxn ang="0">
                    <a:pos x="3905" y="1447"/>
                  </a:cxn>
                  <a:cxn ang="0">
                    <a:pos x="3905" y="2446"/>
                  </a:cxn>
                  <a:cxn ang="0">
                    <a:pos x="2438" y="2446"/>
                  </a:cxn>
                  <a:cxn ang="0">
                    <a:pos x="2438" y="3894"/>
                  </a:cxn>
                  <a:cxn ang="0">
                    <a:pos x="1463" y="3894"/>
                  </a:cxn>
                </a:cxnLst>
                <a:rect l="0" t="0" r="r" b="b"/>
                <a:pathLst>
                  <a:path w="3905" h="3894">
                    <a:moveTo>
                      <a:pt x="1463" y="3894"/>
                    </a:moveTo>
                    <a:lnTo>
                      <a:pt x="1463" y="2446"/>
                    </a:lnTo>
                    <a:lnTo>
                      <a:pt x="0" y="2446"/>
                    </a:lnTo>
                    <a:lnTo>
                      <a:pt x="0" y="1447"/>
                    </a:lnTo>
                    <a:lnTo>
                      <a:pt x="1463" y="1447"/>
                    </a:lnTo>
                    <a:lnTo>
                      <a:pt x="1463" y="0"/>
                    </a:lnTo>
                    <a:lnTo>
                      <a:pt x="2438" y="0"/>
                    </a:lnTo>
                    <a:lnTo>
                      <a:pt x="2438" y="1447"/>
                    </a:lnTo>
                    <a:lnTo>
                      <a:pt x="3905" y="1447"/>
                    </a:lnTo>
                    <a:lnTo>
                      <a:pt x="3905" y="2446"/>
                    </a:lnTo>
                    <a:lnTo>
                      <a:pt x="2438" y="2446"/>
                    </a:lnTo>
                    <a:lnTo>
                      <a:pt x="2438" y="3894"/>
                    </a:lnTo>
                    <a:lnTo>
                      <a:pt x="1463" y="3894"/>
                    </a:lnTo>
                    <a:close/>
                  </a:path>
                </a:pathLst>
              </a:custGeom>
              <a:solidFill>
                <a:schemeClr val="bg1"/>
              </a:solidFill>
              <a:ln w="9525">
                <a:noFill/>
                <a:round/>
                <a:headEnd/>
                <a:tailEnd/>
              </a:ln>
            </p:spPr>
            <p:txBody>
              <a:bodyPr/>
              <a:lstStyle/>
              <a:p>
                <a:pPr defTabSz="913486"/>
                <a:endParaRPr lang="en-US" sz="1400">
                  <a:solidFill>
                    <a:srgbClr val="233746"/>
                  </a:solidFill>
                </a:endParaRPr>
              </a:p>
            </p:txBody>
          </p:sp>
        </p:grpSp>
        <p:grpSp>
          <p:nvGrpSpPr>
            <p:cNvPr id="398" name="Gruppieren 397">
              <a:extLst>
                <a:ext uri="{FF2B5EF4-FFF2-40B4-BE49-F238E27FC236}">
                  <a16:creationId xmlns:a16="http://schemas.microsoft.com/office/drawing/2014/main" id="{30139416-90B6-4790-BE10-DF3657645A81}"/>
                </a:ext>
              </a:extLst>
            </p:cNvPr>
            <p:cNvGrpSpPr>
              <a:grpSpLocks/>
            </p:cNvGrpSpPr>
            <p:nvPr/>
          </p:nvGrpSpPr>
          <p:grpSpPr>
            <a:xfrm>
              <a:off x="3848200" y="5364887"/>
              <a:ext cx="250094" cy="250563"/>
              <a:chOff x="4306777" y="2541118"/>
              <a:chExt cx="250094" cy="250563"/>
            </a:xfrm>
          </p:grpSpPr>
          <p:sp>
            <p:nvSpPr>
              <p:cNvPr id="399" name="Rectangle 876">
                <a:extLst>
                  <a:ext uri="{FF2B5EF4-FFF2-40B4-BE49-F238E27FC236}">
                    <a16:creationId xmlns:a16="http://schemas.microsoft.com/office/drawing/2014/main" id="{F5CB60B3-7E02-454C-876D-C87A93ECFF8D}"/>
                  </a:ext>
                </a:extLst>
              </p:cNvPr>
              <p:cNvSpPr>
                <a:spLocks noChangeAspect="1" noChangeArrowheads="1"/>
              </p:cNvSpPr>
              <p:nvPr/>
            </p:nvSpPr>
            <p:spPr bwMode="gray">
              <a:xfrm>
                <a:off x="4306777" y="2541118"/>
                <a:ext cx="250094" cy="250563"/>
              </a:xfrm>
              <a:prstGeom prst="rect">
                <a:avLst/>
              </a:prstGeom>
              <a:solidFill>
                <a:srgbClr val="EF0137"/>
              </a:solidFill>
              <a:ln w="9525" algn="ctr">
                <a:noFill/>
                <a:miter lim="800000"/>
                <a:headEnd/>
                <a:tailEnd/>
              </a:ln>
              <a:effectLst/>
              <a:extLst>
                <a:ext uri="{91240B29-F687-4F45-9708-019B960494DF}">
                  <a14:hiddenLine xmlns:a14="http://schemas.microsoft.com/office/drawing/2010/main" w="9525" algn="ctr">
                    <a:solidFill>
                      <a:srgbClr val="004669"/>
                    </a:solidFill>
                    <a:miter lim="800000"/>
                    <a:headEnd/>
                    <a:tailEnd/>
                  </a14:hiddenLine>
                </a:ext>
              </a:extLst>
            </p:spPr>
            <p:txBody>
              <a:bodyPr lIns="0" tIns="0" rIns="0" bIns="0" anchor="ctr"/>
              <a:lstStyle/>
              <a:p>
                <a:pPr algn="ctr" defTabSz="913486" eaLnBrk="0" hangingPunct="0">
                  <a:buSzPct val="115000"/>
                  <a:defRPr/>
                </a:pPr>
                <a:endParaRPr lang="en-US" sz="1598" b="1">
                  <a:solidFill>
                    <a:srgbClr val="233746"/>
                  </a:solidFill>
                  <a:cs typeface="Arial" charset="0"/>
                </a:endParaRPr>
              </a:p>
            </p:txBody>
          </p:sp>
          <p:sp>
            <p:nvSpPr>
              <p:cNvPr id="400" name="Freihandform: Form 399">
                <a:extLst>
                  <a:ext uri="{FF2B5EF4-FFF2-40B4-BE49-F238E27FC236}">
                    <a16:creationId xmlns:a16="http://schemas.microsoft.com/office/drawing/2014/main" id="{8670F3D0-8BE7-424A-9A55-FF16971B24D4}"/>
                  </a:ext>
                </a:extLst>
              </p:cNvPr>
              <p:cNvSpPr>
                <a:spLocks noChangeAspect="1"/>
              </p:cNvSpPr>
              <p:nvPr/>
            </p:nvSpPr>
            <p:spPr bwMode="auto">
              <a:xfrm>
                <a:off x="4366754" y="2651190"/>
                <a:ext cx="130140" cy="30418"/>
              </a:xfrm>
              <a:custGeom>
                <a:avLst/>
                <a:gdLst>
                  <a:gd name="connsiteX0" fmla="*/ 0 w 130140"/>
                  <a:gd name="connsiteY0" fmla="*/ 0 h 30418"/>
                  <a:gd name="connsiteX1" fmla="*/ 130140 w 130140"/>
                  <a:gd name="connsiteY1" fmla="*/ 0 h 30418"/>
                  <a:gd name="connsiteX2" fmla="*/ 130140 w 130140"/>
                  <a:gd name="connsiteY2" fmla="*/ 30418 h 30418"/>
                  <a:gd name="connsiteX3" fmla="*/ 0 w 130140"/>
                  <a:gd name="connsiteY3" fmla="*/ 30418 h 30418"/>
                </a:gdLst>
                <a:ahLst/>
                <a:cxnLst>
                  <a:cxn ang="0">
                    <a:pos x="connsiteX0" y="connsiteY0"/>
                  </a:cxn>
                  <a:cxn ang="0">
                    <a:pos x="connsiteX1" y="connsiteY1"/>
                  </a:cxn>
                  <a:cxn ang="0">
                    <a:pos x="connsiteX2" y="connsiteY2"/>
                  </a:cxn>
                  <a:cxn ang="0">
                    <a:pos x="connsiteX3" y="connsiteY3"/>
                  </a:cxn>
                </a:cxnLst>
                <a:rect l="l" t="t" r="r" b="b"/>
                <a:pathLst>
                  <a:path w="130140" h="30418">
                    <a:moveTo>
                      <a:pt x="0" y="0"/>
                    </a:moveTo>
                    <a:lnTo>
                      <a:pt x="130140" y="0"/>
                    </a:lnTo>
                    <a:lnTo>
                      <a:pt x="130140" y="30418"/>
                    </a:lnTo>
                    <a:lnTo>
                      <a:pt x="0" y="30418"/>
                    </a:lnTo>
                    <a:close/>
                  </a:path>
                </a:pathLst>
              </a:custGeom>
              <a:solidFill>
                <a:schemeClr val="bg1"/>
              </a:solidFill>
              <a:ln w="9525">
                <a:noFill/>
                <a:round/>
                <a:headEnd/>
                <a:tailEnd/>
              </a:ln>
            </p:spPr>
            <p:txBody>
              <a:bodyPr wrap="square">
                <a:noAutofit/>
              </a:bodyPr>
              <a:lstStyle/>
              <a:p>
                <a:pPr defTabSz="913486"/>
                <a:endParaRPr lang="en-US" sz="1400">
                  <a:solidFill>
                    <a:srgbClr val="233746"/>
                  </a:solidFill>
                </a:endParaRPr>
              </a:p>
            </p:txBody>
          </p:sp>
        </p:grpSp>
      </p:grpSp>
      <p:grpSp>
        <p:nvGrpSpPr>
          <p:cNvPr id="162" name="Gruppieren 161">
            <a:extLst>
              <a:ext uri="{FF2B5EF4-FFF2-40B4-BE49-F238E27FC236}">
                <a16:creationId xmlns:a16="http://schemas.microsoft.com/office/drawing/2014/main" id="{061581DB-939B-45DD-9C39-30309B24D5E7}"/>
              </a:ext>
            </a:extLst>
          </p:cNvPr>
          <p:cNvGrpSpPr/>
          <p:nvPr/>
        </p:nvGrpSpPr>
        <p:grpSpPr>
          <a:xfrm>
            <a:off x="401129" y="3121636"/>
            <a:ext cx="2076614" cy="929342"/>
            <a:chOff x="1191332" y="1863768"/>
            <a:chExt cx="2830886" cy="1266900"/>
          </a:xfrm>
        </p:grpSpPr>
        <p:sp>
          <p:nvSpPr>
            <p:cNvPr id="163" name="Freihandform: Form 8">
              <a:extLst>
                <a:ext uri="{FF2B5EF4-FFF2-40B4-BE49-F238E27FC236}">
                  <a16:creationId xmlns:a16="http://schemas.microsoft.com/office/drawing/2014/main" id="{9DB097D3-6A6E-4D2C-895A-8FF4002D8D87}"/>
                </a:ext>
              </a:extLst>
            </p:cNvPr>
            <p:cNvSpPr/>
            <p:nvPr/>
          </p:nvSpPr>
          <p:spPr>
            <a:xfrm>
              <a:off x="3571383"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64" name="Freihandform: Form 9">
              <a:extLst>
                <a:ext uri="{FF2B5EF4-FFF2-40B4-BE49-F238E27FC236}">
                  <a16:creationId xmlns:a16="http://schemas.microsoft.com/office/drawing/2014/main" id="{8E137B7B-0C10-4DB2-8589-E9966F146D88}"/>
                </a:ext>
              </a:extLst>
            </p:cNvPr>
            <p:cNvSpPr/>
            <p:nvPr/>
          </p:nvSpPr>
          <p:spPr>
            <a:xfrm>
              <a:off x="3629526"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65" name="Freihandform: Form 10">
              <a:extLst>
                <a:ext uri="{FF2B5EF4-FFF2-40B4-BE49-F238E27FC236}">
                  <a16:creationId xmlns:a16="http://schemas.microsoft.com/office/drawing/2014/main" id="{C4DD4D05-E6FF-4D5F-A07A-F7EC3E4C48FA}"/>
                </a:ext>
              </a:extLst>
            </p:cNvPr>
            <p:cNvSpPr/>
            <p:nvPr/>
          </p:nvSpPr>
          <p:spPr>
            <a:xfrm>
              <a:off x="1191332" y="2159600"/>
              <a:ext cx="2243490" cy="497644"/>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166" name="Freihandform: Form 11">
              <a:extLst>
                <a:ext uri="{FF2B5EF4-FFF2-40B4-BE49-F238E27FC236}">
                  <a16:creationId xmlns:a16="http://schemas.microsoft.com/office/drawing/2014/main" id="{3D3DA595-3B66-4FD5-9097-FEADE0944AFA}"/>
                </a:ext>
              </a:extLst>
            </p:cNvPr>
            <p:cNvSpPr/>
            <p:nvPr/>
          </p:nvSpPr>
          <p:spPr>
            <a:xfrm>
              <a:off x="3498627" y="2271901"/>
              <a:ext cx="523591" cy="671601"/>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68" name="Freihandform: Form 10">
              <a:extLst>
                <a:ext uri="{FF2B5EF4-FFF2-40B4-BE49-F238E27FC236}">
                  <a16:creationId xmlns:a16="http://schemas.microsoft.com/office/drawing/2014/main" id="{DC6C6DD7-66DC-47EE-82A9-A90767EA3AB2}"/>
                </a:ext>
              </a:extLst>
            </p:cNvPr>
            <p:cNvSpPr/>
            <p:nvPr/>
          </p:nvSpPr>
          <p:spPr>
            <a:xfrm>
              <a:off x="1191332" y="2696880"/>
              <a:ext cx="1606721"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70" name="Freihandform: Form 10">
              <a:extLst>
                <a:ext uri="{FF2B5EF4-FFF2-40B4-BE49-F238E27FC236}">
                  <a16:creationId xmlns:a16="http://schemas.microsoft.com/office/drawing/2014/main" id="{D1AB5A7B-7B07-4F90-AC0C-B87BAA3C0BE4}"/>
                </a:ext>
              </a:extLst>
            </p:cNvPr>
            <p:cNvSpPr/>
            <p:nvPr/>
          </p:nvSpPr>
          <p:spPr>
            <a:xfrm>
              <a:off x="2856195" y="2696880"/>
              <a:ext cx="657590"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75" name="Freihandform: Form 8">
              <a:extLst>
                <a:ext uri="{FF2B5EF4-FFF2-40B4-BE49-F238E27FC236}">
                  <a16:creationId xmlns:a16="http://schemas.microsoft.com/office/drawing/2014/main" id="{BAE1B7DF-5355-49F2-ABF6-334930BA5DAE}"/>
                </a:ext>
              </a:extLst>
            </p:cNvPr>
            <p:cNvSpPr/>
            <p:nvPr/>
          </p:nvSpPr>
          <p:spPr>
            <a:xfrm>
              <a:off x="183142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76" name="Freihandform: Form 8">
              <a:extLst>
                <a:ext uri="{FF2B5EF4-FFF2-40B4-BE49-F238E27FC236}">
                  <a16:creationId xmlns:a16="http://schemas.microsoft.com/office/drawing/2014/main" id="{0EA50AA3-981A-47A1-918B-EAEE8E5C4D85}"/>
                </a:ext>
              </a:extLst>
            </p:cNvPr>
            <p:cNvSpPr/>
            <p:nvPr/>
          </p:nvSpPr>
          <p:spPr>
            <a:xfrm>
              <a:off x="153789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77" name="Freihandform: Form 8">
              <a:extLst>
                <a:ext uri="{FF2B5EF4-FFF2-40B4-BE49-F238E27FC236}">
                  <a16:creationId xmlns:a16="http://schemas.microsoft.com/office/drawing/2014/main" id="{9E8BD35F-96E2-48A3-84CE-7F04C91BE55E}"/>
                </a:ext>
              </a:extLst>
            </p:cNvPr>
            <p:cNvSpPr/>
            <p:nvPr/>
          </p:nvSpPr>
          <p:spPr>
            <a:xfrm>
              <a:off x="124436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78" name="Freihandform: Form 8">
              <a:extLst>
                <a:ext uri="{FF2B5EF4-FFF2-40B4-BE49-F238E27FC236}">
                  <a16:creationId xmlns:a16="http://schemas.microsoft.com/office/drawing/2014/main" id="{4756EC6C-2CDC-458B-94EF-622606784DE7}"/>
                </a:ext>
              </a:extLst>
            </p:cNvPr>
            <p:cNvSpPr/>
            <p:nvPr/>
          </p:nvSpPr>
          <p:spPr>
            <a:xfrm>
              <a:off x="1301152"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79" name="Freihandform: Form 8">
              <a:extLst>
                <a:ext uri="{FF2B5EF4-FFF2-40B4-BE49-F238E27FC236}">
                  <a16:creationId xmlns:a16="http://schemas.microsoft.com/office/drawing/2014/main" id="{A7486616-957A-42A6-93BA-E5800F1AEC80}"/>
                </a:ext>
              </a:extLst>
            </p:cNvPr>
            <p:cNvSpPr/>
            <p:nvPr/>
          </p:nvSpPr>
          <p:spPr>
            <a:xfrm>
              <a:off x="159535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80" name="Freihandform: Form 9">
              <a:extLst>
                <a:ext uri="{FF2B5EF4-FFF2-40B4-BE49-F238E27FC236}">
                  <a16:creationId xmlns:a16="http://schemas.microsoft.com/office/drawing/2014/main" id="{7ED9081E-D4A9-4B34-8341-632D305D9361}"/>
                </a:ext>
              </a:extLst>
            </p:cNvPr>
            <p:cNvSpPr/>
            <p:nvPr/>
          </p:nvSpPr>
          <p:spPr>
            <a:xfrm>
              <a:off x="188956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183" name="Freihandform: Form 8">
              <a:extLst>
                <a:ext uri="{FF2B5EF4-FFF2-40B4-BE49-F238E27FC236}">
                  <a16:creationId xmlns:a16="http://schemas.microsoft.com/office/drawing/2014/main" id="{F5D930FD-A329-4616-9FDD-CB2C91C1BFD9}"/>
                </a:ext>
              </a:extLst>
            </p:cNvPr>
            <p:cNvSpPr/>
            <p:nvPr/>
          </p:nvSpPr>
          <p:spPr>
            <a:xfrm>
              <a:off x="2907548"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184" name="Freihandform: Form 9">
              <a:extLst>
                <a:ext uri="{FF2B5EF4-FFF2-40B4-BE49-F238E27FC236}">
                  <a16:creationId xmlns:a16="http://schemas.microsoft.com/office/drawing/2014/main" id="{EA07FD8F-D273-4B36-BAD6-315647E61F42}"/>
                </a:ext>
              </a:extLst>
            </p:cNvPr>
            <p:cNvSpPr/>
            <p:nvPr/>
          </p:nvSpPr>
          <p:spPr>
            <a:xfrm>
              <a:off x="2965691"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grpSp>
          <p:nvGrpSpPr>
            <p:cNvPr id="185" name="Group 169">
              <a:extLst>
                <a:ext uri="{FF2B5EF4-FFF2-40B4-BE49-F238E27FC236}">
                  <a16:creationId xmlns:a16="http://schemas.microsoft.com/office/drawing/2014/main" id="{D4369AED-4D61-4F9F-A32A-FEBD8BD89FB8}"/>
                </a:ext>
              </a:extLst>
            </p:cNvPr>
            <p:cNvGrpSpPr/>
            <p:nvPr/>
          </p:nvGrpSpPr>
          <p:grpSpPr>
            <a:xfrm>
              <a:off x="3460367" y="1863768"/>
              <a:ext cx="410331" cy="405370"/>
              <a:chOff x="8840187" y="2466693"/>
              <a:chExt cx="2051841" cy="2027040"/>
            </a:xfrm>
            <a:solidFill>
              <a:schemeClr val="accent2">
                <a:lumMod val="60000"/>
                <a:lumOff val="40000"/>
              </a:schemeClr>
            </a:solidFill>
          </p:grpSpPr>
          <p:sp>
            <p:nvSpPr>
              <p:cNvPr id="186" name="Freihandform: Form 118">
                <a:extLst>
                  <a:ext uri="{FF2B5EF4-FFF2-40B4-BE49-F238E27FC236}">
                    <a16:creationId xmlns:a16="http://schemas.microsoft.com/office/drawing/2014/main" id="{3F0D6366-F7A4-449D-8A38-6D8B2AD8C400}"/>
                  </a:ext>
                </a:extLst>
              </p:cNvPr>
              <p:cNvSpPr/>
              <p:nvPr/>
            </p:nvSpPr>
            <p:spPr bwMode="auto">
              <a:xfrm>
                <a:off x="9651716" y="3419477"/>
                <a:ext cx="759619" cy="664372"/>
              </a:xfrm>
              <a:custGeom>
                <a:avLst/>
                <a:gdLst>
                  <a:gd name="connsiteX0" fmla="*/ 719138 w 759619"/>
                  <a:gd name="connsiteY0" fmla="*/ 0 h 664369"/>
                  <a:gd name="connsiteX1" fmla="*/ 0 w 759619"/>
                  <a:gd name="connsiteY1" fmla="*/ 664369 h 664369"/>
                  <a:gd name="connsiteX2" fmla="*/ 111919 w 759619"/>
                  <a:gd name="connsiteY2" fmla="*/ 664369 h 664369"/>
                  <a:gd name="connsiteX3" fmla="*/ 759619 w 759619"/>
                  <a:gd name="connsiteY3" fmla="*/ 35719 h 664369"/>
                  <a:gd name="connsiteX4" fmla="*/ 719138 w 759619"/>
                  <a:gd name="connsiteY4" fmla="*/ 0 h 66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19" h="664369">
                    <a:moveTo>
                      <a:pt x="719138" y="0"/>
                    </a:moveTo>
                    <a:lnTo>
                      <a:pt x="0" y="664369"/>
                    </a:lnTo>
                    <a:lnTo>
                      <a:pt x="111919" y="664369"/>
                    </a:lnTo>
                    <a:lnTo>
                      <a:pt x="759619" y="35719"/>
                    </a:lnTo>
                    <a:lnTo>
                      <a:pt x="719138"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187" name="Rechteck: abgerundete Ecken 69">
                <a:extLst>
                  <a:ext uri="{FF2B5EF4-FFF2-40B4-BE49-F238E27FC236}">
                    <a16:creationId xmlns:a16="http://schemas.microsoft.com/office/drawing/2014/main" id="{6770C2D9-5EE2-43C2-B672-81FE848F569B}"/>
                  </a:ext>
                </a:extLst>
              </p:cNvPr>
              <p:cNvSpPr/>
              <p:nvPr/>
            </p:nvSpPr>
            <p:spPr bwMode="auto">
              <a:xfrm>
                <a:off x="10352279" y="3169704"/>
                <a:ext cx="107950" cy="297453"/>
              </a:xfrm>
              <a:prstGeom prst="roundRect">
                <a:avLst>
                  <a:gd name="adj" fmla="val 50000"/>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grpSp>
            <p:nvGrpSpPr>
              <p:cNvPr id="188" name="Gruppieren 143">
                <a:extLst>
                  <a:ext uri="{FF2B5EF4-FFF2-40B4-BE49-F238E27FC236}">
                    <a16:creationId xmlns:a16="http://schemas.microsoft.com/office/drawing/2014/main" id="{C4D06F20-1ACF-45C5-A230-7E3742B11993}"/>
                  </a:ext>
                </a:extLst>
              </p:cNvPr>
              <p:cNvGrpSpPr/>
              <p:nvPr/>
            </p:nvGrpSpPr>
            <p:grpSpPr>
              <a:xfrm>
                <a:off x="10383517" y="3200031"/>
                <a:ext cx="45719" cy="45719"/>
                <a:chOff x="5981516" y="3097167"/>
                <a:chExt cx="60938" cy="60938"/>
              </a:xfrm>
              <a:grpFill/>
            </p:grpSpPr>
            <p:sp>
              <p:nvSpPr>
                <p:cNvPr id="214" name="Freihandform: Form 144">
                  <a:extLst>
                    <a:ext uri="{FF2B5EF4-FFF2-40B4-BE49-F238E27FC236}">
                      <a16:creationId xmlns:a16="http://schemas.microsoft.com/office/drawing/2014/main" id="{546D7832-7FB9-4645-ACAC-6EC2DE1724AB}"/>
                    </a:ext>
                  </a:extLst>
                </p:cNvPr>
                <p:cNvSpPr/>
                <p:nvPr/>
              </p:nvSpPr>
              <p:spPr>
                <a:xfrm rot="18473561" flipH="1" flipV="1">
                  <a:off x="5981516" y="3097167"/>
                  <a:ext cx="60938" cy="60938"/>
                </a:xfrm>
                <a:custGeom>
                  <a:avLst/>
                  <a:gdLst>
                    <a:gd name="connsiteX0" fmla="*/ 115164 w 128594"/>
                    <a:gd name="connsiteY0" fmla="*/ 102874 h 128594"/>
                    <a:gd name="connsiteX1" fmla="*/ 25093 w 128594"/>
                    <a:gd name="connsiteY1" fmla="*/ 115305 h 128594"/>
                    <a:gd name="connsiteX2" fmla="*/ 12662 w 128594"/>
                    <a:gd name="connsiteY2" fmla="*/ 25234 h 128594"/>
                    <a:gd name="connsiteX3" fmla="*/ 102687 w 128594"/>
                    <a:gd name="connsiteY3" fmla="*/ 12767 h 128594"/>
                    <a:gd name="connsiteX4" fmla="*/ 115200 w 128594"/>
                    <a:gd name="connsiteY4" fmla="*/ 102827 h 128594"/>
                    <a:gd name="connsiteX5" fmla="*/ 115164 w 128594"/>
                    <a:gd name="connsiteY5" fmla="*/ 102874 h 1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4" h="128594">
                      <a:moveTo>
                        <a:pt x="115164" y="102874"/>
                      </a:moveTo>
                      <a:cubicBezTo>
                        <a:pt x="93724" y="131179"/>
                        <a:pt x="53398" y="136745"/>
                        <a:pt x="25093" y="115305"/>
                      </a:cubicBezTo>
                      <a:cubicBezTo>
                        <a:pt x="-3212" y="93865"/>
                        <a:pt x="-8778" y="53539"/>
                        <a:pt x="12662" y="25234"/>
                      </a:cubicBezTo>
                      <a:cubicBezTo>
                        <a:pt x="34088" y="-3053"/>
                        <a:pt x="74380" y="-8633"/>
                        <a:pt x="102687" y="12767"/>
                      </a:cubicBezTo>
                      <a:cubicBezTo>
                        <a:pt x="131012" y="34181"/>
                        <a:pt x="136614" y="74502"/>
                        <a:pt x="115200" y="102827"/>
                      </a:cubicBezTo>
                      <a:cubicBezTo>
                        <a:pt x="115188" y="102843"/>
                        <a:pt x="115176" y="102858"/>
                        <a:pt x="115164" y="102874"/>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sp>
              <p:nvSpPr>
                <p:cNvPr id="215" name="Freihandform: Form 145">
                  <a:extLst>
                    <a:ext uri="{FF2B5EF4-FFF2-40B4-BE49-F238E27FC236}">
                      <a16:creationId xmlns:a16="http://schemas.microsoft.com/office/drawing/2014/main" id="{18213C09-AD33-4E44-BF78-80C0C4819C03}"/>
                    </a:ext>
                  </a:extLst>
                </p:cNvPr>
                <p:cNvSpPr/>
                <p:nvPr/>
              </p:nvSpPr>
              <p:spPr>
                <a:xfrm rot="18473561" flipH="1" flipV="1">
                  <a:off x="5993785" y="3109227"/>
                  <a:ext cx="36112" cy="36111"/>
                </a:xfrm>
                <a:custGeom>
                  <a:avLst/>
                  <a:gdLst>
                    <a:gd name="connsiteX0" fmla="*/ 68037 w 76204"/>
                    <a:gd name="connsiteY0" fmla="*/ 60931 h 76203"/>
                    <a:gd name="connsiteX1" fmla="*/ 14645 w 76204"/>
                    <a:gd name="connsiteY1" fmla="*/ 68178 h 76203"/>
                    <a:gd name="connsiteX2" fmla="*/ 7398 w 76204"/>
                    <a:gd name="connsiteY2" fmla="*/ 14786 h 76203"/>
                    <a:gd name="connsiteX3" fmla="*/ 60607 w 76204"/>
                    <a:gd name="connsiteY3" fmla="*/ 7401 h 76203"/>
                    <a:gd name="connsiteX4" fmla="*/ 68175 w 76204"/>
                    <a:gd name="connsiteY4" fmla="*/ 60748 h 76203"/>
                    <a:gd name="connsiteX5" fmla="*/ 68037 w 76204"/>
                    <a:gd name="connsiteY5" fmla="*/ 60931 h 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4" h="76203">
                      <a:moveTo>
                        <a:pt x="68037" y="60931"/>
                      </a:moveTo>
                      <a:cubicBezTo>
                        <a:pt x="55294" y="77676"/>
                        <a:pt x="31390" y="80920"/>
                        <a:pt x="14645" y="68178"/>
                      </a:cubicBezTo>
                      <a:cubicBezTo>
                        <a:pt x="-2100" y="55435"/>
                        <a:pt x="-5344" y="31531"/>
                        <a:pt x="7398" y="14786"/>
                      </a:cubicBezTo>
                      <a:cubicBezTo>
                        <a:pt x="20087" y="-1888"/>
                        <a:pt x="43858" y="-5187"/>
                        <a:pt x="60607" y="7401"/>
                      </a:cubicBezTo>
                      <a:cubicBezTo>
                        <a:pt x="77428" y="20042"/>
                        <a:pt x="80817" y="43927"/>
                        <a:pt x="68175" y="60748"/>
                      </a:cubicBezTo>
                      <a:cubicBezTo>
                        <a:pt x="68129" y="60809"/>
                        <a:pt x="68083" y="60870"/>
                        <a:pt x="68037" y="60931"/>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grpSp>
          <p:sp>
            <p:nvSpPr>
              <p:cNvPr id="190" name="Rechteck 70">
                <a:extLst>
                  <a:ext uri="{FF2B5EF4-FFF2-40B4-BE49-F238E27FC236}">
                    <a16:creationId xmlns:a16="http://schemas.microsoft.com/office/drawing/2014/main" id="{EE85E1F8-BA38-4A4E-B5B5-81EAC2512421}"/>
                  </a:ext>
                </a:extLst>
              </p:cNvPr>
              <p:cNvSpPr/>
              <p:nvPr/>
            </p:nvSpPr>
            <p:spPr bwMode="auto">
              <a:xfrm rot="16200000">
                <a:off x="10154851" y="2561218"/>
                <a:ext cx="63866" cy="764384"/>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191" name="Freihandform: Form 113">
                <a:extLst>
                  <a:ext uri="{FF2B5EF4-FFF2-40B4-BE49-F238E27FC236}">
                    <a16:creationId xmlns:a16="http://schemas.microsoft.com/office/drawing/2014/main" id="{F7031E57-5261-44F6-85E7-C8B5E245146F}"/>
                  </a:ext>
                </a:extLst>
              </p:cNvPr>
              <p:cNvSpPr/>
              <p:nvPr/>
            </p:nvSpPr>
            <p:spPr bwMode="auto">
              <a:xfrm>
                <a:off x="9150520" y="2533654"/>
                <a:ext cx="1092219" cy="804510"/>
              </a:xfrm>
              <a:custGeom>
                <a:avLst/>
                <a:gdLst>
                  <a:gd name="connsiteX0" fmla="*/ 80963 w 823913"/>
                  <a:gd name="connsiteY0" fmla="*/ 0 h 600075"/>
                  <a:gd name="connsiteX1" fmla="*/ 823913 w 823913"/>
                  <a:gd name="connsiteY1" fmla="*/ 552450 h 600075"/>
                  <a:gd name="connsiteX2" fmla="*/ 759619 w 823913"/>
                  <a:gd name="connsiteY2" fmla="*/ 600075 h 600075"/>
                  <a:gd name="connsiteX3" fmla="*/ 0 w 823913"/>
                  <a:gd name="connsiteY3" fmla="*/ 19050 h 600075"/>
                  <a:gd name="connsiteX4" fmla="*/ 80963 w 823913"/>
                  <a:gd name="connsiteY4" fmla="*/ 0 h 600075"/>
                  <a:gd name="connsiteX0" fmla="*/ 80963 w 973932"/>
                  <a:gd name="connsiteY0" fmla="*/ 0 h 659606"/>
                  <a:gd name="connsiteX1" fmla="*/ 973932 w 973932"/>
                  <a:gd name="connsiteY1" fmla="*/ 659606 h 659606"/>
                  <a:gd name="connsiteX2" fmla="*/ 759619 w 973932"/>
                  <a:gd name="connsiteY2" fmla="*/ 600075 h 659606"/>
                  <a:gd name="connsiteX3" fmla="*/ 0 w 973932"/>
                  <a:gd name="connsiteY3" fmla="*/ 19050 h 659606"/>
                  <a:gd name="connsiteX4" fmla="*/ 80963 w 973932"/>
                  <a:gd name="connsiteY4" fmla="*/ 0 h 659606"/>
                  <a:gd name="connsiteX0" fmla="*/ 80963 w 973932"/>
                  <a:gd name="connsiteY0" fmla="*/ 0 h 776287"/>
                  <a:gd name="connsiteX1" fmla="*/ 973932 w 973932"/>
                  <a:gd name="connsiteY1" fmla="*/ 659606 h 776287"/>
                  <a:gd name="connsiteX2" fmla="*/ 971551 w 973932"/>
                  <a:gd name="connsiteY2" fmla="*/ 776287 h 776287"/>
                  <a:gd name="connsiteX3" fmla="*/ 0 w 973932"/>
                  <a:gd name="connsiteY3" fmla="*/ 19050 h 776287"/>
                  <a:gd name="connsiteX4" fmla="*/ 80963 w 973932"/>
                  <a:gd name="connsiteY4" fmla="*/ 0 h 776287"/>
                  <a:gd name="connsiteX0" fmla="*/ 105624 w 998593"/>
                  <a:gd name="connsiteY0" fmla="*/ 0 h 776287"/>
                  <a:gd name="connsiteX1" fmla="*/ 998593 w 998593"/>
                  <a:gd name="connsiteY1" fmla="*/ 659606 h 776287"/>
                  <a:gd name="connsiteX2" fmla="*/ 996212 w 998593"/>
                  <a:gd name="connsiteY2" fmla="*/ 776287 h 776287"/>
                  <a:gd name="connsiteX3" fmla="*/ 0 w 998593"/>
                  <a:gd name="connsiteY3" fmla="*/ 38100 h 776287"/>
                  <a:gd name="connsiteX4" fmla="*/ 105624 w 998593"/>
                  <a:gd name="connsiteY4" fmla="*/ 0 h 77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593" h="776287">
                    <a:moveTo>
                      <a:pt x="105624" y="0"/>
                    </a:moveTo>
                    <a:lnTo>
                      <a:pt x="998593" y="659606"/>
                    </a:lnTo>
                    <a:cubicBezTo>
                      <a:pt x="997799" y="698500"/>
                      <a:pt x="997006" y="737393"/>
                      <a:pt x="996212" y="776287"/>
                    </a:cubicBezTo>
                    <a:lnTo>
                      <a:pt x="0" y="38100"/>
                    </a:lnTo>
                    <a:lnTo>
                      <a:pt x="10562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192" name="Freihandform: Form 27">
                <a:extLst>
                  <a:ext uri="{FF2B5EF4-FFF2-40B4-BE49-F238E27FC236}">
                    <a16:creationId xmlns:a16="http://schemas.microsoft.com/office/drawing/2014/main" id="{F541C66E-C653-410F-BA7F-0C28525C9D91}"/>
                  </a:ext>
                </a:extLst>
              </p:cNvPr>
              <p:cNvSpPr/>
              <p:nvPr/>
            </p:nvSpPr>
            <p:spPr bwMode="auto">
              <a:xfrm>
                <a:off x="9294563" y="3221874"/>
                <a:ext cx="1099340" cy="878682"/>
              </a:xfrm>
              <a:custGeom>
                <a:avLst/>
                <a:gdLst>
                  <a:gd name="connsiteX0" fmla="*/ 866775 w 995362"/>
                  <a:gd name="connsiteY0" fmla="*/ 0 h 819150"/>
                  <a:gd name="connsiteX1" fmla="*/ 0 w 995362"/>
                  <a:gd name="connsiteY1" fmla="*/ 819150 h 819150"/>
                  <a:gd name="connsiteX2" fmla="*/ 276225 w 995362"/>
                  <a:gd name="connsiteY2" fmla="*/ 819150 h 819150"/>
                  <a:gd name="connsiteX3" fmla="*/ 995362 w 995362"/>
                  <a:gd name="connsiteY3" fmla="*/ 100013 h 819150"/>
                  <a:gd name="connsiteX4" fmla="*/ 866775 w 995362"/>
                  <a:gd name="connsiteY4" fmla="*/ 0 h 819150"/>
                  <a:gd name="connsiteX0" fmla="*/ 866775 w 1077912"/>
                  <a:gd name="connsiteY0" fmla="*/ 0 h 819150"/>
                  <a:gd name="connsiteX1" fmla="*/ 0 w 1077912"/>
                  <a:gd name="connsiteY1" fmla="*/ 819150 h 819150"/>
                  <a:gd name="connsiteX2" fmla="*/ 276225 w 1077912"/>
                  <a:gd name="connsiteY2" fmla="*/ 819150 h 819150"/>
                  <a:gd name="connsiteX3" fmla="*/ 1077912 w 1077912"/>
                  <a:gd name="connsiteY3" fmla="*/ 20638 h 819150"/>
                  <a:gd name="connsiteX4" fmla="*/ 866775 w 1077912"/>
                  <a:gd name="connsiteY4" fmla="*/ 0 h 819150"/>
                  <a:gd name="connsiteX0" fmla="*/ 866775 w 1099343"/>
                  <a:gd name="connsiteY0" fmla="*/ 17462 h 836612"/>
                  <a:gd name="connsiteX1" fmla="*/ 0 w 1099343"/>
                  <a:gd name="connsiteY1" fmla="*/ 836612 h 836612"/>
                  <a:gd name="connsiteX2" fmla="*/ 276225 w 1099343"/>
                  <a:gd name="connsiteY2" fmla="*/ 836612 h 836612"/>
                  <a:gd name="connsiteX3" fmla="*/ 1099343 w 1099343"/>
                  <a:gd name="connsiteY3" fmla="*/ 0 h 836612"/>
                  <a:gd name="connsiteX4" fmla="*/ 866775 w 1099343"/>
                  <a:gd name="connsiteY4" fmla="*/ 17462 h 836612"/>
                  <a:gd name="connsiteX0" fmla="*/ 866775 w 1023143"/>
                  <a:gd name="connsiteY0" fmla="*/ 0 h 819150"/>
                  <a:gd name="connsiteX1" fmla="*/ 0 w 1023143"/>
                  <a:gd name="connsiteY1" fmla="*/ 819150 h 819150"/>
                  <a:gd name="connsiteX2" fmla="*/ 276225 w 1023143"/>
                  <a:gd name="connsiteY2" fmla="*/ 819150 h 819150"/>
                  <a:gd name="connsiteX3" fmla="*/ 1023143 w 1023143"/>
                  <a:gd name="connsiteY3" fmla="*/ 51594 h 819150"/>
                  <a:gd name="connsiteX4" fmla="*/ 866775 w 1023143"/>
                  <a:gd name="connsiteY4" fmla="*/ 0 h 819150"/>
                  <a:gd name="connsiteX0" fmla="*/ 866775 w 1023143"/>
                  <a:gd name="connsiteY0" fmla="*/ 0 h 826294"/>
                  <a:gd name="connsiteX1" fmla="*/ 0 w 1023143"/>
                  <a:gd name="connsiteY1" fmla="*/ 819150 h 826294"/>
                  <a:gd name="connsiteX2" fmla="*/ 202407 w 1023143"/>
                  <a:gd name="connsiteY2" fmla="*/ 826294 h 826294"/>
                  <a:gd name="connsiteX3" fmla="*/ 1023143 w 1023143"/>
                  <a:gd name="connsiteY3" fmla="*/ 51594 h 826294"/>
                  <a:gd name="connsiteX4" fmla="*/ 866775 w 1023143"/>
                  <a:gd name="connsiteY4" fmla="*/ 0 h 826294"/>
                  <a:gd name="connsiteX0" fmla="*/ 866775 w 1011237"/>
                  <a:gd name="connsiteY0" fmla="*/ 0 h 826294"/>
                  <a:gd name="connsiteX1" fmla="*/ 0 w 1011237"/>
                  <a:gd name="connsiteY1" fmla="*/ 819150 h 826294"/>
                  <a:gd name="connsiteX2" fmla="*/ 202407 w 1011237"/>
                  <a:gd name="connsiteY2" fmla="*/ 826294 h 826294"/>
                  <a:gd name="connsiteX3" fmla="*/ 1011237 w 1011237"/>
                  <a:gd name="connsiteY3" fmla="*/ 51594 h 826294"/>
                  <a:gd name="connsiteX4" fmla="*/ 866775 w 1011237"/>
                  <a:gd name="connsiteY4" fmla="*/ 0 h 826294"/>
                  <a:gd name="connsiteX0" fmla="*/ 866775 w 1080293"/>
                  <a:gd name="connsiteY0" fmla="*/ 15081 h 841375"/>
                  <a:gd name="connsiteX1" fmla="*/ 0 w 1080293"/>
                  <a:gd name="connsiteY1" fmla="*/ 834231 h 841375"/>
                  <a:gd name="connsiteX2" fmla="*/ 202407 w 1080293"/>
                  <a:gd name="connsiteY2" fmla="*/ 841375 h 841375"/>
                  <a:gd name="connsiteX3" fmla="*/ 1080293 w 1080293"/>
                  <a:gd name="connsiteY3" fmla="*/ 0 h 841375"/>
                  <a:gd name="connsiteX4" fmla="*/ 866775 w 1080293"/>
                  <a:gd name="connsiteY4" fmla="*/ 15081 h 841375"/>
                  <a:gd name="connsiteX0" fmla="*/ 926306 w 1080293"/>
                  <a:gd name="connsiteY0" fmla="*/ 0 h 878682"/>
                  <a:gd name="connsiteX1" fmla="*/ 0 w 1080293"/>
                  <a:gd name="connsiteY1" fmla="*/ 871538 h 878682"/>
                  <a:gd name="connsiteX2" fmla="*/ 202407 w 1080293"/>
                  <a:gd name="connsiteY2" fmla="*/ 878682 h 878682"/>
                  <a:gd name="connsiteX3" fmla="*/ 1080293 w 1080293"/>
                  <a:gd name="connsiteY3" fmla="*/ 37307 h 878682"/>
                  <a:gd name="connsiteX4" fmla="*/ 926306 w 1080293"/>
                  <a:gd name="connsiteY4" fmla="*/ 0 h 878682"/>
                  <a:gd name="connsiteX0" fmla="*/ 926306 w 1099343"/>
                  <a:gd name="connsiteY0" fmla="*/ 0 h 878682"/>
                  <a:gd name="connsiteX1" fmla="*/ 0 w 1099343"/>
                  <a:gd name="connsiteY1" fmla="*/ 871538 h 878682"/>
                  <a:gd name="connsiteX2" fmla="*/ 202407 w 1099343"/>
                  <a:gd name="connsiteY2" fmla="*/ 878682 h 878682"/>
                  <a:gd name="connsiteX3" fmla="*/ 1099343 w 1099343"/>
                  <a:gd name="connsiteY3" fmla="*/ 18257 h 878682"/>
                  <a:gd name="connsiteX4" fmla="*/ 926306 w 1099343"/>
                  <a:gd name="connsiteY4" fmla="*/ 0 h 878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343" h="878682">
                    <a:moveTo>
                      <a:pt x="926306" y="0"/>
                    </a:moveTo>
                    <a:lnTo>
                      <a:pt x="0" y="871538"/>
                    </a:lnTo>
                    <a:lnTo>
                      <a:pt x="202407" y="878682"/>
                    </a:lnTo>
                    <a:lnTo>
                      <a:pt x="1099343" y="18257"/>
                    </a:lnTo>
                    <a:lnTo>
                      <a:pt x="926306"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04" name="Rechteck 36">
                <a:extLst>
                  <a:ext uri="{FF2B5EF4-FFF2-40B4-BE49-F238E27FC236}">
                    <a16:creationId xmlns:a16="http://schemas.microsoft.com/office/drawing/2014/main" id="{C5EF8DAB-530F-409A-BA31-B70015FEA425}"/>
                  </a:ext>
                </a:extLst>
              </p:cNvPr>
              <p:cNvSpPr/>
              <p:nvPr/>
            </p:nvSpPr>
            <p:spPr bwMode="auto">
              <a:xfrm>
                <a:off x="10411334" y="2492375"/>
                <a:ext cx="170310" cy="76157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05" name="Rechteck 33">
                <a:extLst>
                  <a:ext uri="{FF2B5EF4-FFF2-40B4-BE49-F238E27FC236}">
                    <a16:creationId xmlns:a16="http://schemas.microsoft.com/office/drawing/2014/main" id="{CDCF1C63-A1F8-45C9-A38F-879F35D7CEBB}"/>
                  </a:ext>
                </a:extLst>
              </p:cNvPr>
              <p:cNvSpPr/>
              <p:nvPr/>
            </p:nvSpPr>
            <p:spPr bwMode="auto">
              <a:xfrm>
                <a:off x="9158196" y="2466693"/>
                <a:ext cx="1415773" cy="11894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07" name="Freihandform: Form 41">
                <a:extLst>
                  <a:ext uri="{FF2B5EF4-FFF2-40B4-BE49-F238E27FC236}">
                    <a16:creationId xmlns:a16="http://schemas.microsoft.com/office/drawing/2014/main" id="{BE40645E-4BC1-4549-9709-DE3E2CC9B5D4}"/>
                  </a:ext>
                </a:extLst>
              </p:cNvPr>
              <p:cNvSpPr/>
              <p:nvPr/>
            </p:nvSpPr>
            <p:spPr bwMode="auto">
              <a:xfrm>
                <a:off x="8976744"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08" name="Freihandform: Form 63">
                <a:extLst>
                  <a:ext uri="{FF2B5EF4-FFF2-40B4-BE49-F238E27FC236}">
                    <a16:creationId xmlns:a16="http://schemas.microsoft.com/office/drawing/2014/main" id="{3C0574FB-5605-4D9A-AD2D-EF77D2974969}"/>
                  </a:ext>
                </a:extLst>
              </p:cNvPr>
              <p:cNvSpPr/>
              <p:nvPr/>
            </p:nvSpPr>
            <p:spPr bwMode="auto">
              <a:xfrm>
                <a:off x="88401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09" name="Freihandform: Form 66">
                <a:extLst>
                  <a:ext uri="{FF2B5EF4-FFF2-40B4-BE49-F238E27FC236}">
                    <a16:creationId xmlns:a16="http://schemas.microsoft.com/office/drawing/2014/main" id="{CB401C55-C26A-4F21-B82B-53A75583CAA8}"/>
                  </a:ext>
                </a:extLst>
              </p:cNvPr>
              <p:cNvSpPr/>
              <p:nvPr/>
            </p:nvSpPr>
            <p:spPr bwMode="auto">
              <a:xfrm flipH="1">
                <a:off x="10275757"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10" name="Freihandform: Form 67">
                <a:extLst>
                  <a:ext uri="{FF2B5EF4-FFF2-40B4-BE49-F238E27FC236}">
                    <a16:creationId xmlns:a16="http://schemas.microsoft.com/office/drawing/2014/main" id="{2DA7DB0A-93F7-4435-A896-8DFCDD9B39D3}"/>
                  </a:ext>
                </a:extLst>
              </p:cNvPr>
              <p:cNvSpPr/>
              <p:nvPr/>
            </p:nvSpPr>
            <p:spPr bwMode="auto">
              <a:xfrm flipH="1">
                <a:off x="103332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11" name="Rechteck 68">
                <a:extLst>
                  <a:ext uri="{FF2B5EF4-FFF2-40B4-BE49-F238E27FC236}">
                    <a16:creationId xmlns:a16="http://schemas.microsoft.com/office/drawing/2014/main" id="{4A32F7D5-5444-4303-9286-40C95B4FA651}"/>
                  </a:ext>
                </a:extLst>
              </p:cNvPr>
              <p:cNvSpPr/>
              <p:nvPr/>
            </p:nvSpPr>
            <p:spPr bwMode="auto">
              <a:xfrm rot="16200000">
                <a:off x="10304860" y="2977161"/>
                <a:ext cx="101174" cy="452406"/>
              </a:xfrm>
              <a:custGeom>
                <a:avLst/>
                <a:gdLst>
                  <a:gd name="connsiteX0" fmla="*/ 0 w 101174"/>
                  <a:gd name="connsiteY0" fmla="*/ 0 h 452407"/>
                  <a:gd name="connsiteX1" fmla="*/ 101174 w 101174"/>
                  <a:gd name="connsiteY1" fmla="*/ 0 h 452407"/>
                  <a:gd name="connsiteX2" fmla="*/ 101174 w 101174"/>
                  <a:gd name="connsiteY2" fmla="*/ 452407 h 452407"/>
                  <a:gd name="connsiteX3" fmla="*/ 0 w 101174"/>
                  <a:gd name="connsiteY3" fmla="*/ 452407 h 452407"/>
                  <a:gd name="connsiteX4" fmla="*/ 0 w 101174"/>
                  <a:gd name="connsiteY4" fmla="*/ 0 h 452407"/>
                  <a:gd name="connsiteX0" fmla="*/ 0 w 101175"/>
                  <a:gd name="connsiteY0" fmla="*/ 52391 h 452407"/>
                  <a:gd name="connsiteX1" fmla="*/ 101175 w 101175"/>
                  <a:gd name="connsiteY1" fmla="*/ 0 h 452407"/>
                  <a:gd name="connsiteX2" fmla="*/ 101175 w 101175"/>
                  <a:gd name="connsiteY2" fmla="*/ 452407 h 452407"/>
                  <a:gd name="connsiteX3" fmla="*/ 1 w 101175"/>
                  <a:gd name="connsiteY3" fmla="*/ 452407 h 452407"/>
                  <a:gd name="connsiteX4" fmla="*/ 0 w 101175"/>
                  <a:gd name="connsiteY4" fmla="*/ 52391 h 45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5" h="452407">
                    <a:moveTo>
                      <a:pt x="0" y="52391"/>
                    </a:moveTo>
                    <a:lnTo>
                      <a:pt x="101175" y="0"/>
                    </a:lnTo>
                    <a:lnTo>
                      <a:pt x="101175" y="452407"/>
                    </a:lnTo>
                    <a:lnTo>
                      <a:pt x="1" y="452407"/>
                    </a:lnTo>
                    <a:cubicBezTo>
                      <a:pt x="1" y="319068"/>
                      <a:pt x="0" y="185730"/>
                      <a:pt x="0" y="52391"/>
                    </a:cubicBez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12" name="Rechteck: obere Ecken abgerundet 7">
                <a:extLst>
                  <a:ext uri="{FF2B5EF4-FFF2-40B4-BE49-F238E27FC236}">
                    <a16:creationId xmlns:a16="http://schemas.microsoft.com/office/drawing/2014/main" id="{F204C161-6AD8-44E1-ADF1-D228C9CD9E92}"/>
                  </a:ext>
                </a:extLst>
              </p:cNvPr>
              <p:cNvSpPr/>
              <p:nvPr/>
            </p:nvSpPr>
            <p:spPr bwMode="auto">
              <a:xfrm>
                <a:off x="9040215" y="4064003"/>
                <a:ext cx="962022" cy="156140"/>
              </a:xfrm>
              <a:prstGeom prst="round2SameRect">
                <a:avLst>
                  <a:gd name="adj1" fmla="val 42068"/>
                  <a:gd name="adj2" fmla="val 0"/>
                </a:avLst>
              </a:pr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sp>
            <p:nvSpPr>
              <p:cNvPr id="213" name="Freihandform: Form 9">
                <a:extLst>
                  <a:ext uri="{FF2B5EF4-FFF2-40B4-BE49-F238E27FC236}">
                    <a16:creationId xmlns:a16="http://schemas.microsoft.com/office/drawing/2014/main" id="{F21991D8-1C0D-499D-B7F5-1471E4364B11}"/>
                  </a:ext>
                </a:extLst>
              </p:cNvPr>
              <p:cNvSpPr/>
              <p:nvPr/>
            </p:nvSpPr>
            <p:spPr>
              <a:xfrm>
                <a:off x="9040215" y="4235534"/>
                <a:ext cx="1061461" cy="258199"/>
              </a:xfrm>
              <a:custGeom>
                <a:avLst/>
                <a:gdLst>
                  <a:gd name="connsiteX0" fmla="*/ 0 w 1549400"/>
                  <a:gd name="connsiteY0" fmla="*/ 0 h 272485"/>
                  <a:gd name="connsiteX1" fmla="*/ 1406525 w 1549400"/>
                  <a:gd name="connsiteY1" fmla="*/ 0 h 272485"/>
                  <a:gd name="connsiteX2" fmla="*/ 1406526 w 1549400"/>
                  <a:gd name="connsiteY2" fmla="*/ 0 h 272485"/>
                  <a:gd name="connsiteX3" fmla="*/ 1406526 w 1549400"/>
                  <a:gd name="connsiteY3" fmla="*/ 2 h 272485"/>
                  <a:gd name="connsiteX4" fmla="*/ 1549400 w 1549400"/>
                  <a:gd name="connsiteY4" fmla="*/ 272485 h 272485"/>
                  <a:gd name="connsiteX5" fmla="*/ 1406526 w 1549400"/>
                  <a:gd name="connsiteY5" fmla="*/ 272485 h 272485"/>
                  <a:gd name="connsiteX6" fmla="*/ 1406525 w 1549400"/>
                  <a:gd name="connsiteY6" fmla="*/ 272485 h 272485"/>
                  <a:gd name="connsiteX7" fmla="*/ 0 w 1549400"/>
                  <a:gd name="connsiteY7" fmla="*/ 272485 h 27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400" h="272485">
                    <a:moveTo>
                      <a:pt x="0" y="0"/>
                    </a:moveTo>
                    <a:lnTo>
                      <a:pt x="1406525" y="0"/>
                    </a:lnTo>
                    <a:lnTo>
                      <a:pt x="1406526" y="0"/>
                    </a:lnTo>
                    <a:lnTo>
                      <a:pt x="1406526" y="2"/>
                    </a:lnTo>
                    <a:lnTo>
                      <a:pt x="1549400" y="272485"/>
                    </a:lnTo>
                    <a:lnTo>
                      <a:pt x="1406526" y="272485"/>
                    </a:lnTo>
                    <a:lnTo>
                      <a:pt x="1406525" y="272485"/>
                    </a:lnTo>
                    <a:lnTo>
                      <a:pt x="0" y="272485"/>
                    </a:lnTo>
                    <a:close/>
                  </a:path>
                </a:pathLst>
              </a:cu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grpSp>
      </p:grpSp>
      <p:grpSp>
        <p:nvGrpSpPr>
          <p:cNvPr id="216" name="Gruppieren 215">
            <a:extLst>
              <a:ext uri="{FF2B5EF4-FFF2-40B4-BE49-F238E27FC236}">
                <a16:creationId xmlns:a16="http://schemas.microsoft.com/office/drawing/2014/main" id="{FA6FDF2E-4A6F-4791-B0D1-4C51896D568D}"/>
              </a:ext>
            </a:extLst>
          </p:cNvPr>
          <p:cNvGrpSpPr/>
          <p:nvPr/>
        </p:nvGrpSpPr>
        <p:grpSpPr>
          <a:xfrm>
            <a:off x="401129" y="4484509"/>
            <a:ext cx="2076614" cy="929342"/>
            <a:chOff x="1191332" y="1863768"/>
            <a:chExt cx="2830886" cy="1266900"/>
          </a:xfrm>
        </p:grpSpPr>
        <p:sp>
          <p:nvSpPr>
            <p:cNvPr id="217" name="Freihandform: Form 8">
              <a:extLst>
                <a:ext uri="{FF2B5EF4-FFF2-40B4-BE49-F238E27FC236}">
                  <a16:creationId xmlns:a16="http://schemas.microsoft.com/office/drawing/2014/main" id="{863F2AC9-1784-4792-9885-99DA99F73377}"/>
                </a:ext>
              </a:extLst>
            </p:cNvPr>
            <p:cNvSpPr/>
            <p:nvPr/>
          </p:nvSpPr>
          <p:spPr>
            <a:xfrm>
              <a:off x="3571383"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18" name="Freihandform: Form 9">
              <a:extLst>
                <a:ext uri="{FF2B5EF4-FFF2-40B4-BE49-F238E27FC236}">
                  <a16:creationId xmlns:a16="http://schemas.microsoft.com/office/drawing/2014/main" id="{02DE2B3E-DB3A-473C-87CE-ACEE18EFDCE2}"/>
                </a:ext>
              </a:extLst>
            </p:cNvPr>
            <p:cNvSpPr/>
            <p:nvPr/>
          </p:nvSpPr>
          <p:spPr>
            <a:xfrm>
              <a:off x="3629526"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19" name="Freihandform: Form 10">
              <a:extLst>
                <a:ext uri="{FF2B5EF4-FFF2-40B4-BE49-F238E27FC236}">
                  <a16:creationId xmlns:a16="http://schemas.microsoft.com/office/drawing/2014/main" id="{E6B34530-6D90-4072-8D30-0CD555BD100B}"/>
                </a:ext>
              </a:extLst>
            </p:cNvPr>
            <p:cNvSpPr/>
            <p:nvPr/>
          </p:nvSpPr>
          <p:spPr>
            <a:xfrm>
              <a:off x="1191332" y="2159600"/>
              <a:ext cx="2243490" cy="497644"/>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220" name="Freihandform: Form 11">
              <a:extLst>
                <a:ext uri="{FF2B5EF4-FFF2-40B4-BE49-F238E27FC236}">
                  <a16:creationId xmlns:a16="http://schemas.microsoft.com/office/drawing/2014/main" id="{59E2DA26-43F7-44BC-B7DB-4B8559238C8C}"/>
                </a:ext>
              </a:extLst>
            </p:cNvPr>
            <p:cNvSpPr/>
            <p:nvPr/>
          </p:nvSpPr>
          <p:spPr>
            <a:xfrm>
              <a:off x="3498627" y="2271901"/>
              <a:ext cx="523591" cy="671601"/>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21" name="Freihandform: Form 10">
              <a:extLst>
                <a:ext uri="{FF2B5EF4-FFF2-40B4-BE49-F238E27FC236}">
                  <a16:creationId xmlns:a16="http://schemas.microsoft.com/office/drawing/2014/main" id="{2A5B24A0-67D9-4F84-94AC-25A4AF1E8368}"/>
                </a:ext>
              </a:extLst>
            </p:cNvPr>
            <p:cNvSpPr/>
            <p:nvPr/>
          </p:nvSpPr>
          <p:spPr>
            <a:xfrm>
              <a:off x="1191332" y="2696880"/>
              <a:ext cx="1606721"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22" name="Freihandform: Form 10">
              <a:extLst>
                <a:ext uri="{FF2B5EF4-FFF2-40B4-BE49-F238E27FC236}">
                  <a16:creationId xmlns:a16="http://schemas.microsoft.com/office/drawing/2014/main" id="{3A99F559-B3B0-4772-B833-DA407F538782}"/>
                </a:ext>
              </a:extLst>
            </p:cNvPr>
            <p:cNvSpPr/>
            <p:nvPr/>
          </p:nvSpPr>
          <p:spPr>
            <a:xfrm>
              <a:off x="2856195" y="2696880"/>
              <a:ext cx="657590"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23" name="Freihandform: Form 8">
              <a:extLst>
                <a:ext uri="{FF2B5EF4-FFF2-40B4-BE49-F238E27FC236}">
                  <a16:creationId xmlns:a16="http://schemas.microsoft.com/office/drawing/2014/main" id="{76F571A5-7CB5-4299-908C-C58B0736EE71}"/>
                </a:ext>
              </a:extLst>
            </p:cNvPr>
            <p:cNvSpPr/>
            <p:nvPr/>
          </p:nvSpPr>
          <p:spPr>
            <a:xfrm>
              <a:off x="183142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0" name="Freihandform: Form 8">
              <a:extLst>
                <a:ext uri="{FF2B5EF4-FFF2-40B4-BE49-F238E27FC236}">
                  <a16:creationId xmlns:a16="http://schemas.microsoft.com/office/drawing/2014/main" id="{E1D67686-B41C-404D-8C4E-A30310AF2B37}"/>
                </a:ext>
              </a:extLst>
            </p:cNvPr>
            <p:cNvSpPr/>
            <p:nvPr/>
          </p:nvSpPr>
          <p:spPr>
            <a:xfrm>
              <a:off x="153789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2" name="Freihandform: Form 8">
              <a:extLst>
                <a:ext uri="{FF2B5EF4-FFF2-40B4-BE49-F238E27FC236}">
                  <a16:creationId xmlns:a16="http://schemas.microsoft.com/office/drawing/2014/main" id="{56F80537-2045-42D2-BA63-02B43AC9D852}"/>
                </a:ext>
              </a:extLst>
            </p:cNvPr>
            <p:cNvSpPr/>
            <p:nvPr/>
          </p:nvSpPr>
          <p:spPr>
            <a:xfrm>
              <a:off x="124436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5" name="Freihandform: Form 8">
              <a:extLst>
                <a:ext uri="{FF2B5EF4-FFF2-40B4-BE49-F238E27FC236}">
                  <a16:creationId xmlns:a16="http://schemas.microsoft.com/office/drawing/2014/main" id="{F7452A05-15AC-4C4D-9CD6-E62A8CAF2BC5}"/>
                </a:ext>
              </a:extLst>
            </p:cNvPr>
            <p:cNvSpPr/>
            <p:nvPr/>
          </p:nvSpPr>
          <p:spPr>
            <a:xfrm>
              <a:off x="1301152"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6" name="Freihandform: Form 8">
              <a:extLst>
                <a:ext uri="{FF2B5EF4-FFF2-40B4-BE49-F238E27FC236}">
                  <a16:creationId xmlns:a16="http://schemas.microsoft.com/office/drawing/2014/main" id="{1AB508B3-4E03-4A85-B41A-9851D5B61704}"/>
                </a:ext>
              </a:extLst>
            </p:cNvPr>
            <p:cNvSpPr/>
            <p:nvPr/>
          </p:nvSpPr>
          <p:spPr>
            <a:xfrm>
              <a:off x="159535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7" name="Freihandform: Form 9">
              <a:extLst>
                <a:ext uri="{FF2B5EF4-FFF2-40B4-BE49-F238E27FC236}">
                  <a16:creationId xmlns:a16="http://schemas.microsoft.com/office/drawing/2014/main" id="{6D466F61-2590-4606-BF19-C729C86ABAA4}"/>
                </a:ext>
              </a:extLst>
            </p:cNvPr>
            <p:cNvSpPr/>
            <p:nvPr/>
          </p:nvSpPr>
          <p:spPr>
            <a:xfrm>
              <a:off x="188956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38" name="Freihandform: Form 8">
              <a:extLst>
                <a:ext uri="{FF2B5EF4-FFF2-40B4-BE49-F238E27FC236}">
                  <a16:creationId xmlns:a16="http://schemas.microsoft.com/office/drawing/2014/main" id="{CD3BFEB4-9512-44A4-B101-7FB89155BFED}"/>
                </a:ext>
              </a:extLst>
            </p:cNvPr>
            <p:cNvSpPr/>
            <p:nvPr/>
          </p:nvSpPr>
          <p:spPr>
            <a:xfrm>
              <a:off x="2907548"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39" name="Freihandform: Form 9">
              <a:extLst>
                <a:ext uri="{FF2B5EF4-FFF2-40B4-BE49-F238E27FC236}">
                  <a16:creationId xmlns:a16="http://schemas.microsoft.com/office/drawing/2014/main" id="{32B1CD14-7DA9-426F-9A61-19EF6A9D88F7}"/>
                </a:ext>
              </a:extLst>
            </p:cNvPr>
            <p:cNvSpPr/>
            <p:nvPr/>
          </p:nvSpPr>
          <p:spPr>
            <a:xfrm>
              <a:off x="2965691"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grpSp>
          <p:nvGrpSpPr>
            <p:cNvPr id="240" name="Group 169">
              <a:extLst>
                <a:ext uri="{FF2B5EF4-FFF2-40B4-BE49-F238E27FC236}">
                  <a16:creationId xmlns:a16="http://schemas.microsoft.com/office/drawing/2014/main" id="{0FE15F8E-FFB7-4796-9E8D-AAD80ABD550C}"/>
                </a:ext>
              </a:extLst>
            </p:cNvPr>
            <p:cNvGrpSpPr/>
            <p:nvPr/>
          </p:nvGrpSpPr>
          <p:grpSpPr>
            <a:xfrm>
              <a:off x="3460367" y="1863768"/>
              <a:ext cx="410331" cy="405370"/>
              <a:chOff x="8840187" y="2466693"/>
              <a:chExt cx="2051841" cy="2027040"/>
            </a:xfrm>
            <a:solidFill>
              <a:schemeClr val="accent2">
                <a:lumMod val="60000"/>
                <a:lumOff val="40000"/>
              </a:schemeClr>
            </a:solidFill>
          </p:grpSpPr>
          <p:sp>
            <p:nvSpPr>
              <p:cNvPr id="250" name="Freihandform: Form 118">
                <a:extLst>
                  <a:ext uri="{FF2B5EF4-FFF2-40B4-BE49-F238E27FC236}">
                    <a16:creationId xmlns:a16="http://schemas.microsoft.com/office/drawing/2014/main" id="{EF1A56C1-EF36-41B3-9DB4-C0448CB0DAB2}"/>
                  </a:ext>
                </a:extLst>
              </p:cNvPr>
              <p:cNvSpPr/>
              <p:nvPr/>
            </p:nvSpPr>
            <p:spPr bwMode="auto">
              <a:xfrm>
                <a:off x="9651716" y="3419477"/>
                <a:ext cx="759619" cy="664372"/>
              </a:xfrm>
              <a:custGeom>
                <a:avLst/>
                <a:gdLst>
                  <a:gd name="connsiteX0" fmla="*/ 719138 w 759619"/>
                  <a:gd name="connsiteY0" fmla="*/ 0 h 664369"/>
                  <a:gd name="connsiteX1" fmla="*/ 0 w 759619"/>
                  <a:gd name="connsiteY1" fmla="*/ 664369 h 664369"/>
                  <a:gd name="connsiteX2" fmla="*/ 111919 w 759619"/>
                  <a:gd name="connsiteY2" fmla="*/ 664369 h 664369"/>
                  <a:gd name="connsiteX3" fmla="*/ 759619 w 759619"/>
                  <a:gd name="connsiteY3" fmla="*/ 35719 h 664369"/>
                  <a:gd name="connsiteX4" fmla="*/ 719138 w 759619"/>
                  <a:gd name="connsiteY4" fmla="*/ 0 h 66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19" h="664369">
                    <a:moveTo>
                      <a:pt x="719138" y="0"/>
                    </a:moveTo>
                    <a:lnTo>
                      <a:pt x="0" y="664369"/>
                    </a:lnTo>
                    <a:lnTo>
                      <a:pt x="111919" y="664369"/>
                    </a:lnTo>
                    <a:lnTo>
                      <a:pt x="759619" y="35719"/>
                    </a:lnTo>
                    <a:lnTo>
                      <a:pt x="719138"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1" name="Rechteck: abgerundete Ecken 69">
                <a:extLst>
                  <a:ext uri="{FF2B5EF4-FFF2-40B4-BE49-F238E27FC236}">
                    <a16:creationId xmlns:a16="http://schemas.microsoft.com/office/drawing/2014/main" id="{0A064035-529A-493F-A4EF-B19C807F6B86}"/>
                  </a:ext>
                </a:extLst>
              </p:cNvPr>
              <p:cNvSpPr/>
              <p:nvPr/>
            </p:nvSpPr>
            <p:spPr bwMode="auto">
              <a:xfrm>
                <a:off x="10352279" y="3169704"/>
                <a:ext cx="107950" cy="297453"/>
              </a:xfrm>
              <a:prstGeom prst="roundRect">
                <a:avLst>
                  <a:gd name="adj" fmla="val 50000"/>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grpSp>
            <p:nvGrpSpPr>
              <p:cNvPr id="252" name="Gruppieren 143">
                <a:extLst>
                  <a:ext uri="{FF2B5EF4-FFF2-40B4-BE49-F238E27FC236}">
                    <a16:creationId xmlns:a16="http://schemas.microsoft.com/office/drawing/2014/main" id="{8B9E4CFE-4240-40B7-A338-28B7CE77A8AB}"/>
                  </a:ext>
                </a:extLst>
              </p:cNvPr>
              <p:cNvGrpSpPr/>
              <p:nvPr/>
            </p:nvGrpSpPr>
            <p:grpSpPr>
              <a:xfrm>
                <a:off x="10383517" y="3200031"/>
                <a:ext cx="45719" cy="45719"/>
                <a:chOff x="5981516" y="3097167"/>
                <a:chExt cx="60938" cy="60938"/>
              </a:xfrm>
              <a:grpFill/>
            </p:grpSpPr>
            <p:sp>
              <p:nvSpPr>
                <p:cNvPr id="265" name="Freihandform: Form 144">
                  <a:extLst>
                    <a:ext uri="{FF2B5EF4-FFF2-40B4-BE49-F238E27FC236}">
                      <a16:creationId xmlns:a16="http://schemas.microsoft.com/office/drawing/2014/main" id="{B6900A5C-AA3E-4F0B-AD38-DF4627C6BCE0}"/>
                    </a:ext>
                  </a:extLst>
                </p:cNvPr>
                <p:cNvSpPr/>
                <p:nvPr/>
              </p:nvSpPr>
              <p:spPr>
                <a:xfrm rot="18473561" flipH="1" flipV="1">
                  <a:off x="5981516" y="3097167"/>
                  <a:ext cx="60938" cy="60938"/>
                </a:xfrm>
                <a:custGeom>
                  <a:avLst/>
                  <a:gdLst>
                    <a:gd name="connsiteX0" fmla="*/ 115164 w 128594"/>
                    <a:gd name="connsiteY0" fmla="*/ 102874 h 128594"/>
                    <a:gd name="connsiteX1" fmla="*/ 25093 w 128594"/>
                    <a:gd name="connsiteY1" fmla="*/ 115305 h 128594"/>
                    <a:gd name="connsiteX2" fmla="*/ 12662 w 128594"/>
                    <a:gd name="connsiteY2" fmla="*/ 25234 h 128594"/>
                    <a:gd name="connsiteX3" fmla="*/ 102687 w 128594"/>
                    <a:gd name="connsiteY3" fmla="*/ 12767 h 128594"/>
                    <a:gd name="connsiteX4" fmla="*/ 115200 w 128594"/>
                    <a:gd name="connsiteY4" fmla="*/ 102827 h 128594"/>
                    <a:gd name="connsiteX5" fmla="*/ 115164 w 128594"/>
                    <a:gd name="connsiteY5" fmla="*/ 102874 h 1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4" h="128594">
                      <a:moveTo>
                        <a:pt x="115164" y="102874"/>
                      </a:moveTo>
                      <a:cubicBezTo>
                        <a:pt x="93724" y="131179"/>
                        <a:pt x="53398" y="136745"/>
                        <a:pt x="25093" y="115305"/>
                      </a:cubicBezTo>
                      <a:cubicBezTo>
                        <a:pt x="-3212" y="93865"/>
                        <a:pt x="-8778" y="53539"/>
                        <a:pt x="12662" y="25234"/>
                      </a:cubicBezTo>
                      <a:cubicBezTo>
                        <a:pt x="34088" y="-3053"/>
                        <a:pt x="74380" y="-8633"/>
                        <a:pt x="102687" y="12767"/>
                      </a:cubicBezTo>
                      <a:cubicBezTo>
                        <a:pt x="131012" y="34181"/>
                        <a:pt x="136614" y="74502"/>
                        <a:pt x="115200" y="102827"/>
                      </a:cubicBezTo>
                      <a:cubicBezTo>
                        <a:pt x="115188" y="102843"/>
                        <a:pt x="115176" y="102858"/>
                        <a:pt x="115164" y="102874"/>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sp>
              <p:nvSpPr>
                <p:cNvPr id="266" name="Freihandform: Form 145">
                  <a:extLst>
                    <a:ext uri="{FF2B5EF4-FFF2-40B4-BE49-F238E27FC236}">
                      <a16:creationId xmlns:a16="http://schemas.microsoft.com/office/drawing/2014/main" id="{D5003145-1F74-426A-A27F-276ABC9D8367}"/>
                    </a:ext>
                  </a:extLst>
                </p:cNvPr>
                <p:cNvSpPr/>
                <p:nvPr/>
              </p:nvSpPr>
              <p:spPr>
                <a:xfrm rot="18473561" flipH="1" flipV="1">
                  <a:off x="5993785" y="3109227"/>
                  <a:ext cx="36112" cy="36111"/>
                </a:xfrm>
                <a:custGeom>
                  <a:avLst/>
                  <a:gdLst>
                    <a:gd name="connsiteX0" fmla="*/ 68037 w 76204"/>
                    <a:gd name="connsiteY0" fmla="*/ 60931 h 76203"/>
                    <a:gd name="connsiteX1" fmla="*/ 14645 w 76204"/>
                    <a:gd name="connsiteY1" fmla="*/ 68178 h 76203"/>
                    <a:gd name="connsiteX2" fmla="*/ 7398 w 76204"/>
                    <a:gd name="connsiteY2" fmla="*/ 14786 h 76203"/>
                    <a:gd name="connsiteX3" fmla="*/ 60607 w 76204"/>
                    <a:gd name="connsiteY3" fmla="*/ 7401 h 76203"/>
                    <a:gd name="connsiteX4" fmla="*/ 68175 w 76204"/>
                    <a:gd name="connsiteY4" fmla="*/ 60748 h 76203"/>
                    <a:gd name="connsiteX5" fmla="*/ 68037 w 76204"/>
                    <a:gd name="connsiteY5" fmla="*/ 60931 h 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4" h="76203">
                      <a:moveTo>
                        <a:pt x="68037" y="60931"/>
                      </a:moveTo>
                      <a:cubicBezTo>
                        <a:pt x="55294" y="77676"/>
                        <a:pt x="31390" y="80920"/>
                        <a:pt x="14645" y="68178"/>
                      </a:cubicBezTo>
                      <a:cubicBezTo>
                        <a:pt x="-2100" y="55435"/>
                        <a:pt x="-5344" y="31531"/>
                        <a:pt x="7398" y="14786"/>
                      </a:cubicBezTo>
                      <a:cubicBezTo>
                        <a:pt x="20087" y="-1888"/>
                        <a:pt x="43858" y="-5187"/>
                        <a:pt x="60607" y="7401"/>
                      </a:cubicBezTo>
                      <a:cubicBezTo>
                        <a:pt x="77428" y="20042"/>
                        <a:pt x="80817" y="43927"/>
                        <a:pt x="68175" y="60748"/>
                      </a:cubicBezTo>
                      <a:cubicBezTo>
                        <a:pt x="68129" y="60809"/>
                        <a:pt x="68083" y="60870"/>
                        <a:pt x="68037" y="60931"/>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grpSp>
          <p:sp>
            <p:nvSpPr>
              <p:cNvPr id="253" name="Rechteck 70">
                <a:extLst>
                  <a:ext uri="{FF2B5EF4-FFF2-40B4-BE49-F238E27FC236}">
                    <a16:creationId xmlns:a16="http://schemas.microsoft.com/office/drawing/2014/main" id="{6BA74747-5EB4-486D-B538-94F7EF20F137}"/>
                  </a:ext>
                </a:extLst>
              </p:cNvPr>
              <p:cNvSpPr/>
              <p:nvPr/>
            </p:nvSpPr>
            <p:spPr bwMode="auto">
              <a:xfrm rot="16200000">
                <a:off x="10154851" y="2561218"/>
                <a:ext cx="63866" cy="764384"/>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4" name="Freihandform: Form 113">
                <a:extLst>
                  <a:ext uri="{FF2B5EF4-FFF2-40B4-BE49-F238E27FC236}">
                    <a16:creationId xmlns:a16="http://schemas.microsoft.com/office/drawing/2014/main" id="{2935D566-C304-465E-85E5-F7087869E795}"/>
                  </a:ext>
                </a:extLst>
              </p:cNvPr>
              <p:cNvSpPr/>
              <p:nvPr/>
            </p:nvSpPr>
            <p:spPr bwMode="auto">
              <a:xfrm>
                <a:off x="9150520" y="2533654"/>
                <a:ext cx="1092219" cy="804510"/>
              </a:xfrm>
              <a:custGeom>
                <a:avLst/>
                <a:gdLst>
                  <a:gd name="connsiteX0" fmla="*/ 80963 w 823913"/>
                  <a:gd name="connsiteY0" fmla="*/ 0 h 600075"/>
                  <a:gd name="connsiteX1" fmla="*/ 823913 w 823913"/>
                  <a:gd name="connsiteY1" fmla="*/ 552450 h 600075"/>
                  <a:gd name="connsiteX2" fmla="*/ 759619 w 823913"/>
                  <a:gd name="connsiteY2" fmla="*/ 600075 h 600075"/>
                  <a:gd name="connsiteX3" fmla="*/ 0 w 823913"/>
                  <a:gd name="connsiteY3" fmla="*/ 19050 h 600075"/>
                  <a:gd name="connsiteX4" fmla="*/ 80963 w 823913"/>
                  <a:gd name="connsiteY4" fmla="*/ 0 h 600075"/>
                  <a:gd name="connsiteX0" fmla="*/ 80963 w 973932"/>
                  <a:gd name="connsiteY0" fmla="*/ 0 h 659606"/>
                  <a:gd name="connsiteX1" fmla="*/ 973932 w 973932"/>
                  <a:gd name="connsiteY1" fmla="*/ 659606 h 659606"/>
                  <a:gd name="connsiteX2" fmla="*/ 759619 w 973932"/>
                  <a:gd name="connsiteY2" fmla="*/ 600075 h 659606"/>
                  <a:gd name="connsiteX3" fmla="*/ 0 w 973932"/>
                  <a:gd name="connsiteY3" fmla="*/ 19050 h 659606"/>
                  <a:gd name="connsiteX4" fmla="*/ 80963 w 973932"/>
                  <a:gd name="connsiteY4" fmla="*/ 0 h 659606"/>
                  <a:gd name="connsiteX0" fmla="*/ 80963 w 973932"/>
                  <a:gd name="connsiteY0" fmla="*/ 0 h 776287"/>
                  <a:gd name="connsiteX1" fmla="*/ 973932 w 973932"/>
                  <a:gd name="connsiteY1" fmla="*/ 659606 h 776287"/>
                  <a:gd name="connsiteX2" fmla="*/ 971551 w 973932"/>
                  <a:gd name="connsiteY2" fmla="*/ 776287 h 776287"/>
                  <a:gd name="connsiteX3" fmla="*/ 0 w 973932"/>
                  <a:gd name="connsiteY3" fmla="*/ 19050 h 776287"/>
                  <a:gd name="connsiteX4" fmla="*/ 80963 w 973932"/>
                  <a:gd name="connsiteY4" fmla="*/ 0 h 776287"/>
                  <a:gd name="connsiteX0" fmla="*/ 105624 w 998593"/>
                  <a:gd name="connsiteY0" fmla="*/ 0 h 776287"/>
                  <a:gd name="connsiteX1" fmla="*/ 998593 w 998593"/>
                  <a:gd name="connsiteY1" fmla="*/ 659606 h 776287"/>
                  <a:gd name="connsiteX2" fmla="*/ 996212 w 998593"/>
                  <a:gd name="connsiteY2" fmla="*/ 776287 h 776287"/>
                  <a:gd name="connsiteX3" fmla="*/ 0 w 998593"/>
                  <a:gd name="connsiteY3" fmla="*/ 38100 h 776287"/>
                  <a:gd name="connsiteX4" fmla="*/ 105624 w 998593"/>
                  <a:gd name="connsiteY4" fmla="*/ 0 h 77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593" h="776287">
                    <a:moveTo>
                      <a:pt x="105624" y="0"/>
                    </a:moveTo>
                    <a:lnTo>
                      <a:pt x="998593" y="659606"/>
                    </a:lnTo>
                    <a:cubicBezTo>
                      <a:pt x="997799" y="698500"/>
                      <a:pt x="997006" y="737393"/>
                      <a:pt x="996212" y="776287"/>
                    </a:cubicBezTo>
                    <a:lnTo>
                      <a:pt x="0" y="38100"/>
                    </a:lnTo>
                    <a:lnTo>
                      <a:pt x="10562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5" name="Freihandform: Form 27">
                <a:extLst>
                  <a:ext uri="{FF2B5EF4-FFF2-40B4-BE49-F238E27FC236}">
                    <a16:creationId xmlns:a16="http://schemas.microsoft.com/office/drawing/2014/main" id="{8FF0839A-5774-42D6-B790-16ACC0509D77}"/>
                  </a:ext>
                </a:extLst>
              </p:cNvPr>
              <p:cNvSpPr/>
              <p:nvPr/>
            </p:nvSpPr>
            <p:spPr bwMode="auto">
              <a:xfrm>
                <a:off x="9294563" y="3221874"/>
                <a:ext cx="1099340" cy="878682"/>
              </a:xfrm>
              <a:custGeom>
                <a:avLst/>
                <a:gdLst>
                  <a:gd name="connsiteX0" fmla="*/ 866775 w 995362"/>
                  <a:gd name="connsiteY0" fmla="*/ 0 h 819150"/>
                  <a:gd name="connsiteX1" fmla="*/ 0 w 995362"/>
                  <a:gd name="connsiteY1" fmla="*/ 819150 h 819150"/>
                  <a:gd name="connsiteX2" fmla="*/ 276225 w 995362"/>
                  <a:gd name="connsiteY2" fmla="*/ 819150 h 819150"/>
                  <a:gd name="connsiteX3" fmla="*/ 995362 w 995362"/>
                  <a:gd name="connsiteY3" fmla="*/ 100013 h 819150"/>
                  <a:gd name="connsiteX4" fmla="*/ 866775 w 995362"/>
                  <a:gd name="connsiteY4" fmla="*/ 0 h 819150"/>
                  <a:gd name="connsiteX0" fmla="*/ 866775 w 1077912"/>
                  <a:gd name="connsiteY0" fmla="*/ 0 h 819150"/>
                  <a:gd name="connsiteX1" fmla="*/ 0 w 1077912"/>
                  <a:gd name="connsiteY1" fmla="*/ 819150 h 819150"/>
                  <a:gd name="connsiteX2" fmla="*/ 276225 w 1077912"/>
                  <a:gd name="connsiteY2" fmla="*/ 819150 h 819150"/>
                  <a:gd name="connsiteX3" fmla="*/ 1077912 w 1077912"/>
                  <a:gd name="connsiteY3" fmla="*/ 20638 h 819150"/>
                  <a:gd name="connsiteX4" fmla="*/ 866775 w 1077912"/>
                  <a:gd name="connsiteY4" fmla="*/ 0 h 819150"/>
                  <a:gd name="connsiteX0" fmla="*/ 866775 w 1099343"/>
                  <a:gd name="connsiteY0" fmla="*/ 17462 h 836612"/>
                  <a:gd name="connsiteX1" fmla="*/ 0 w 1099343"/>
                  <a:gd name="connsiteY1" fmla="*/ 836612 h 836612"/>
                  <a:gd name="connsiteX2" fmla="*/ 276225 w 1099343"/>
                  <a:gd name="connsiteY2" fmla="*/ 836612 h 836612"/>
                  <a:gd name="connsiteX3" fmla="*/ 1099343 w 1099343"/>
                  <a:gd name="connsiteY3" fmla="*/ 0 h 836612"/>
                  <a:gd name="connsiteX4" fmla="*/ 866775 w 1099343"/>
                  <a:gd name="connsiteY4" fmla="*/ 17462 h 836612"/>
                  <a:gd name="connsiteX0" fmla="*/ 866775 w 1023143"/>
                  <a:gd name="connsiteY0" fmla="*/ 0 h 819150"/>
                  <a:gd name="connsiteX1" fmla="*/ 0 w 1023143"/>
                  <a:gd name="connsiteY1" fmla="*/ 819150 h 819150"/>
                  <a:gd name="connsiteX2" fmla="*/ 276225 w 1023143"/>
                  <a:gd name="connsiteY2" fmla="*/ 819150 h 819150"/>
                  <a:gd name="connsiteX3" fmla="*/ 1023143 w 1023143"/>
                  <a:gd name="connsiteY3" fmla="*/ 51594 h 819150"/>
                  <a:gd name="connsiteX4" fmla="*/ 866775 w 1023143"/>
                  <a:gd name="connsiteY4" fmla="*/ 0 h 819150"/>
                  <a:gd name="connsiteX0" fmla="*/ 866775 w 1023143"/>
                  <a:gd name="connsiteY0" fmla="*/ 0 h 826294"/>
                  <a:gd name="connsiteX1" fmla="*/ 0 w 1023143"/>
                  <a:gd name="connsiteY1" fmla="*/ 819150 h 826294"/>
                  <a:gd name="connsiteX2" fmla="*/ 202407 w 1023143"/>
                  <a:gd name="connsiteY2" fmla="*/ 826294 h 826294"/>
                  <a:gd name="connsiteX3" fmla="*/ 1023143 w 1023143"/>
                  <a:gd name="connsiteY3" fmla="*/ 51594 h 826294"/>
                  <a:gd name="connsiteX4" fmla="*/ 866775 w 1023143"/>
                  <a:gd name="connsiteY4" fmla="*/ 0 h 826294"/>
                  <a:gd name="connsiteX0" fmla="*/ 866775 w 1011237"/>
                  <a:gd name="connsiteY0" fmla="*/ 0 h 826294"/>
                  <a:gd name="connsiteX1" fmla="*/ 0 w 1011237"/>
                  <a:gd name="connsiteY1" fmla="*/ 819150 h 826294"/>
                  <a:gd name="connsiteX2" fmla="*/ 202407 w 1011237"/>
                  <a:gd name="connsiteY2" fmla="*/ 826294 h 826294"/>
                  <a:gd name="connsiteX3" fmla="*/ 1011237 w 1011237"/>
                  <a:gd name="connsiteY3" fmla="*/ 51594 h 826294"/>
                  <a:gd name="connsiteX4" fmla="*/ 866775 w 1011237"/>
                  <a:gd name="connsiteY4" fmla="*/ 0 h 826294"/>
                  <a:gd name="connsiteX0" fmla="*/ 866775 w 1080293"/>
                  <a:gd name="connsiteY0" fmla="*/ 15081 h 841375"/>
                  <a:gd name="connsiteX1" fmla="*/ 0 w 1080293"/>
                  <a:gd name="connsiteY1" fmla="*/ 834231 h 841375"/>
                  <a:gd name="connsiteX2" fmla="*/ 202407 w 1080293"/>
                  <a:gd name="connsiteY2" fmla="*/ 841375 h 841375"/>
                  <a:gd name="connsiteX3" fmla="*/ 1080293 w 1080293"/>
                  <a:gd name="connsiteY3" fmla="*/ 0 h 841375"/>
                  <a:gd name="connsiteX4" fmla="*/ 866775 w 1080293"/>
                  <a:gd name="connsiteY4" fmla="*/ 15081 h 841375"/>
                  <a:gd name="connsiteX0" fmla="*/ 926306 w 1080293"/>
                  <a:gd name="connsiteY0" fmla="*/ 0 h 878682"/>
                  <a:gd name="connsiteX1" fmla="*/ 0 w 1080293"/>
                  <a:gd name="connsiteY1" fmla="*/ 871538 h 878682"/>
                  <a:gd name="connsiteX2" fmla="*/ 202407 w 1080293"/>
                  <a:gd name="connsiteY2" fmla="*/ 878682 h 878682"/>
                  <a:gd name="connsiteX3" fmla="*/ 1080293 w 1080293"/>
                  <a:gd name="connsiteY3" fmla="*/ 37307 h 878682"/>
                  <a:gd name="connsiteX4" fmla="*/ 926306 w 1080293"/>
                  <a:gd name="connsiteY4" fmla="*/ 0 h 878682"/>
                  <a:gd name="connsiteX0" fmla="*/ 926306 w 1099343"/>
                  <a:gd name="connsiteY0" fmla="*/ 0 h 878682"/>
                  <a:gd name="connsiteX1" fmla="*/ 0 w 1099343"/>
                  <a:gd name="connsiteY1" fmla="*/ 871538 h 878682"/>
                  <a:gd name="connsiteX2" fmla="*/ 202407 w 1099343"/>
                  <a:gd name="connsiteY2" fmla="*/ 878682 h 878682"/>
                  <a:gd name="connsiteX3" fmla="*/ 1099343 w 1099343"/>
                  <a:gd name="connsiteY3" fmla="*/ 18257 h 878682"/>
                  <a:gd name="connsiteX4" fmla="*/ 926306 w 1099343"/>
                  <a:gd name="connsiteY4" fmla="*/ 0 h 878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343" h="878682">
                    <a:moveTo>
                      <a:pt x="926306" y="0"/>
                    </a:moveTo>
                    <a:lnTo>
                      <a:pt x="0" y="871538"/>
                    </a:lnTo>
                    <a:lnTo>
                      <a:pt x="202407" y="878682"/>
                    </a:lnTo>
                    <a:lnTo>
                      <a:pt x="1099343" y="18257"/>
                    </a:lnTo>
                    <a:lnTo>
                      <a:pt x="926306"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6" name="Rechteck 36">
                <a:extLst>
                  <a:ext uri="{FF2B5EF4-FFF2-40B4-BE49-F238E27FC236}">
                    <a16:creationId xmlns:a16="http://schemas.microsoft.com/office/drawing/2014/main" id="{C1E72F52-BC6E-4CC2-A128-00D4AC82CF52}"/>
                  </a:ext>
                </a:extLst>
              </p:cNvPr>
              <p:cNvSpPr/>
              <p:nvPr/>
            </p:nvSpPr>
            <p:spPr bwMode="auto">
              <a:xfrm>
                <a:off x="10411334" y="2492375"/>
                <a:ext cx="170310" cy="76157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7" name="Rechteck 33">
                <a:extLst>
                  <a:ext uri="{FF2B5EF4-FFF2-40B4-BE49-F238E27FC236}">
                    <a16:creationId xmlns:a16="http://schemas.microsoft.com/office/drawing/2014/main" id="{A6F36D10-3F38-4A74-9D29-1436CAC0C514}"/>
                  </a:ext>
                </a:extLst>
              </p:cNvPr>
              <p:cNvSpPr/>
              <p:nvPr/>
            </p:nvSpPr>
            <p:spPr bwMode="auto">
              <a:xfrm>
                <a:off x="9158196" y="2466693"/>
                <a:ext cx="1415773" cy="11894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8" name="Freihandform: Form 41">
                <a:extLst>
                  <a:ext uri="{FF2B5EF4-FFF2-40B4-BE49-F238E27FC236}">
                    <a16:creationId xmlns:a16="http://schemas.microsoft.com/office/drawing/2014/main" id="{FCB3BE47-31F6-4EEB-B440-54FFB221E39D}"/>
                  </a:ext>
                </a:extLst>
              </p:cNvPr>
              <p:cNvSpPr/>
              <p:nvPr/>
            </p:nvSpPr>
            <p:spPr bwMode="auto">
              <a:xfrm>
                <a:off x="8976744"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59" name="Freihandform: Form 63">
                <a:extLst>
                  <a:ext uri="{FF2B5EF4-FFF2-40B4-BE49-F238E27FC236}">
                    <a16:creationId xmlns:a16="http://schemas.microsoft.com/office/drawing/2014/main" id="{95C7F674-12A0-4404-8A84-B1798F421294}"/>
                  </a:ext>
                </a:extLst>
              </p:cNvPr>
              <p:cNvSpPr/>
              <p:nvPr/>
            </p:nvSpPr>
            <p:spPr bwMode="auto">
              <a:xfrm>
                <a:off x="88401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60" name="Freihandform: Form 66">
                <a:extLst>
                  <a:ext uri="{FF2B5EF4-FFF2-40B4-BE49-F238E27FC236}">
                    <a16:creationId xmlns:a16="http://schemas.microsoft.com/office/drawing/2014/main" id="{C5629F16-424E-4743-A111-90634A032F03}"/>
                  </a:ext>
                </a:extLst>
              </p:cNvPr>
              <p:cNvSpPr/>
              <p:nvPr/>
            </p:nvSpPr>
            <p:spPr bwMode="auto">
              <a:xfrm flipH="1">
                <a:off x="10275757"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61" name="Freihandform: Form 67">
                <a:extLst>
                  <a:ext uri="{FF2B5EF4-FFF2-40B4-BE49-F238E27FC236}">
                    <a16:creationId xmlns:a16="http://schemas.microsoft.com/office/drawing/2014/main" id="{A8BD34B4-EF9C-4E03-8C3F-5D9D4B227BA4}"/>
                  </a:ext>
                </a:extLst>
              </p:cNvPr>
              <p:cNvSpPr/>
              <p:nvPr/>
            </p:nvSpPr>
            <p:spPr bwMode="auto">
              <a:xfrm flipH="1">
                <a:off x="103332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62" name="Rechteck 68">
                <a:extLst>
                  <a:ext uri="{FF2B5EF4-FFF2-40B4-BE49-F238E27FC236}">
                    <a16:creationId xmlns:a16="http://schemas.microsoft.com/office/drawing/2014/main" id="{B4C7FF8F-5908-4274-871D-234B90034273}"/>
                  </a:ext>
                </a:extLst>
              </p:cNvPr>
              <p:cNvSpPr/>
              <p:nvPr/>
            </p:nvSpPr>
            <p:spPr bwMode="auto">
              <a:xfrm rot="16200000">
                <a:off x="10304860" y="2977161"/>
                <a:ext cx="101174" cy="452406"/>
              </a:xfrm>
              <a:custGeom>
                <a:avLst/>
                <a:gdLst>
                  <a:gd name="connsiteX0" fmla="*/ 0 w 101174"/>
                  <a:gd name="connsiteY0" fmla="*/ 0 h 452407"/>
                  <a:gd name="connsiteX1" fmla="*/ 101174 w 101174"/>
                  <a:gd name="connsiteY1" fmla="*/ 0 h 452407"/>
                  <a:gd name="connsiteX2" fmla="*/ 101174 w 101174"/>
                  <a:gd name="connsiteY2" fmla="*/ 452407 h 452407"/>
                  <a:gd name="connsiteX3" fmla="*/ 0 w 101174"/>
                  <a:gd name="connsiteY3" fmla="*/ 452407 h 452407"/>
                  <a:gd name="connsiteX4" fmla="*/ 0 w 101174"/>
                  <a:gd name="connsiteY4" fmla="*/ 0 h 452407"/>
                  <a:gd name="connsiteX0" fmla="*/ 0 w 101175"/>
                  <a:gd name="connsiteY0" fmla="*/ 52391 h 452407"/>
                  <a:gd name="connsiteX1" fmla="*/ 101175 w 101175"/>
                  <a:gd name="connsiteY1" fmla="*/ 0 h 452407"/>
                  <a:gd name="connsiteX2" fmla="*/ 101175 w 101175"/>
                  <a:gd name="connsiteY2" fmla="*/ 452407 h 452407"/>
                  <a:gd name="connsiteX3" fmla="*/ 1 w 101175"/>
                  <a:gd name="connsiteY3" fmla="*/ 452407 h 452407"/>
                  <a:gd name="connsiteX4" fmla="*/ 0 w 101175"/>
                  <a:gd name="connsiteY4" fmla="*/ 52391 h 45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5" h="452407">
                    <a:moveTo>
                      <a:pt x="0" y="52391"/>
                    </a:moveTo>
                    <a:lnTo>
                      <a:pt x="101175" y="0"/>
                    </a:lnTo>
                    <a:lnTo>
                      <a:pt x="101175" y="452407"/>
                    </a:lnTo>
                    <a:lnTo>
                      <a:pt x="1" y="452407"/>
                    </a:lnTo>
                    <a:cubicBezTo>
                      <a:pt x="1" y="319068"/>
                      <a:pt x="0" y="185730"/>
                      <a:pt x="0" y="52391"/>
                    </a:cubicBez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63" name="Rechteck: obere Ecken abgerundet 7">
                <a:extLst>
                  <a:ext uri="{FF2B5EF4-FFF2-40B4-BE49-F238E27FC236}">
                    <a16:creationId xmlns:a16="http://schemas.microsoft.com/office/drawing/2014/main" id="{E8270434-07A0-4B2F-A96E-AFA171762ED7}"/>
                  </a:ext>
                </a:extLst>
              </p:cNvPr>
              <p:cNvSpPr/>
              <p:nvPr/>
            </p:nvSpPr>
            <p:spPr bwMode="auto">
              <a:xfrm>
                <a:off x="9040215" y="4064003"/>
                <a:ext cx="962022" cy="156140"/>
              </a:xfrm>
              <a:prstGeom prst="round2SameRect">
                <a:avLst>
                  <a:gd name="adj1" fmla="val 42068"/>
                  <a:gd name="adj2" fmla="val 0"/>
                </a:avLst>
              </a:pr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sp>
            <p:nvSpPr>
              <p:cNvPr id="264" name="Freihandform: Form 9">
                <a:extLst>
                  <a:ext uri="{FF2B5EF4-FFF2-40B4-BE49-F238E27FC236}">
                    <a16:creationId xmlns:a16="http://schemas.microsoft.com/office/drawing/2014/main" id="{DC278512-06D6-4B6D-946D-A3B1446C90FC}"/>
                  </a:ext>
                </a:extLst>
              </p:cNvPr>
              <p:cNvSpPr/>
              <p:nvPr/>
            </p:nvSpPr>
            <p:spPr>
              <a:xfrm>
                <a:off x="9040215" y="4235534"/>
                <a:ext cx="1061461" cy="258199"/>
              </a:xfrm>
              <a:custGeom>
                <a:avLst/>
                <a:gdLst>
                  <a:gd name="connsiteX0" fmla="*/ 0 w 1549400"/>
                  <a:gd name="connsiteY0" fmla="*/ 0 h 272485"/>
                  <a:gd name="connsiteX1" fmla="*/ 1406525 w 1549400"/>
                  <a:gd name="connsiteY1" fmla="*/ 0 h 272485"/>
                  <a:gd name="connsiteX2" fmla="*/ 1406526 w 1549400"/>
                  <a:gd name="connsiteY2" fmla="*/ 0 h 272485"/>
                  <a:gd name="connsiteX3" fmla="*/ 1406526 w 1549400"/>
                  <a:gd name="connsiteY3" fmla="*/ 2 h 272485"/>
                  <a:gd name="connsiteX4" fmla="*/ 1549400 w 1549400"/>
                  <a:gd name="connsiteY4" fmla="*/ 272485 h 272485"/>
                  <a:gd name="connsiteX5" fmla="*/ 1406526 w 1549400"/>
                  <a:gd name="connsiteY5" fmla="*/ 272485 h 272485"/>
                  <a:gd name="connsiteX6" fmla="*/ 1406525 w 1549400"/>
                  <a:gd name="connsiteY6" fmla="*/ 272485 h 272485"/>
                  <a:gd name="connsiteX7" fmla="*/ 0 w 1549400"/>
                  <a:gd name="connsiteY7" fmla="*/ 272485 h 27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400" h="272485">
                    <a:moveTo>
                      <a:pt x="0" y="0"/>
                    </a:moveTo>
                    <a:lnTo>
                      <a:pt x="1406525" y="0"/>
                    </a:lnTo>
                    <a:lnTo>
                      <a:pt x="1406526" y="0"/>
                    </a:lnTo>
                    <a:lnTo>
                      <a:pt x="1406526" y="2"/>
                    </a:lnTo>
                    <a:lnTo>
                      <a:pt x="1549400" y="272485"/>
                    </a:lnTo>
                    <a:lnTo>
                      <a:pt x="1406526" y="272485"/>
                    </a:lnTo>
                    <a:lnTo>
                      <a:pt x="1406525" y="272485"/>
                    </a:lnTo>
                    <a:lnTo>
                      <a:pt x="0" y="272485"/>
                    </a:lnTo>
                    <a:close/>
                  </a:path>
                </a:pathLst>
              </a:cu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grpSp>
      </p:grpSp>
      <p:grpSp>
        <p:nvGrpSpPr>
          <p:cNvPr id="267" name="Gruppieren 266">
            <a:extLst>
              <a:ext uri="{FF2B5EF4-FFF2-40B4-BE49-F238E27FC236}">
                <a16:creationId xmlns:a16="http://schemas.microsoft.com/office/drawing/2014/main" id="{B7152486-02D3-49A4-A6C2-52543CECE2D8}"/>
              </a:ext>
            </a:extLst>
          </p:cNvPr>
          <p:cNvGrpSpPr/>
          <p:nvPr/>
        </p:nvGrpSpPr>
        <p:grpSpPr>
          <a:xfrm>
            <a:off x="401129" y="1803016"/>
            <a:ext cx="2076614" cy="929342"/>
            <a:chOff x="1191332" y="1863768"/>
            <a:chExt cx="2830886" cy="1266900"/>
          </a:xfrm>
        </p:grpSpPr>
        <p:sp>
          <p:nvSpPr>
            <p:cNvPr id="268" name="Freihandform: Form 8">
              <a:extLst>
                <a:ext uri="{FF2B5EF4-FFF2-40B4-BE49-F238E27FC236}">
                  <a16:creationId xmlns:a16="http://schemas.microsoft.com/office/drawing/2014/main" id="{48F7896B-F57C-4937-A0C5-3B90323ECF72}"/>
                </a:ext>
              </a:extLst>
            </p:cNvPr>
            <p:cNvSpPr/>
            <p:nvPr/>
          </p:nvSpPr>
          <p:spPr>
            <a:xfrm>
              <a:off x="3571383"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69" name="Freihandform: Form 9">
              <a:extLst>
                <a:ext uri="{FF2B5EF4-FFF2-40B4-BE49-F238E27FC236}">
                  <a16:creationId xmlns:a16="http://schemas.microsoft.com/office/drawing/2014/main" id="{8865EF95-A70F-43D8-B91F-D36E1523ED03}"/>
                </a:ext>
              </a:extLst>
            </p:cNvPr>
            <p:cNvSpPr/>
            <p:nvPr/>
          </p:nvSpPr>
          <p:spPr>
            <a:xfrm>
              <a:off x="3629526"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70" name="Freihandform: Form 10">
              <a:extLst>
                <a:ext uri="{FF2B5EF4-FFF2-40B4-BE49-F238E27FC236}">
                  <a16:creationId xmlns:a16="http://schemas.microsoft.com/office/drawing/2014/main" id="{537E0B7D-530A-490D-9D89-4CCC8ACDEC55}"/>
                </a:ext>
              </a:extLst>
            </p:cNvPr>
            <p:cNvSpPr/>
            <p:nvPr/>
          </p:nvSpPr>
          <p:spPr>
            <a:xfrm>
              <a:off x="1191332" y="2159600"/>
              <a:ext cx="2243490" cy="497644"/>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algn="ctr" defTabSz="913486">
                <a:defRPr/>
              </a:pPr>
              <a:endParaRPr lang="en-US" sz="1798" b="1" kern="0" baseline="-25000">
                <a:solidFill>
                  <a:srgbClr val="E6E65F"/>
                </a:solidFill>
                <a:latin typeface="Arial"/>
              </a:endParaRPr>
            </a:p>
          </p:txBody>
        </p:sp>
        <p:sp>
          <p:nvSpPr>
            <p:cNvPr id="271" name="Freihandform: Form 11">
              <a:extLst>
                <a:ext uri="{FF2B5EF4-FFF2-40B4-BE49-F238E27FC236}">
                  <a16:creationId xmlns:a16="http://schemas.microsoft.com/office/drawing/2014/main" id="{14A3E1D5-700B-4EED-A2CE-700D674686E7}"/>
                </a:ext>
              </a:extLst>
            </p:cNvPr>
            <p:cNvSpPr/>
            <p:nvPr/>
          </p:nvSpPr>
          <p:spPr>
            <a:xfrm>
              <a:off x="3498627" y="2271901"/>
              <a:ext cx="523591" cy="671601"/>
            </a:xfrm>
            <a:custGeom>
              <a:avLst/>
              <a:gdLst>
                <a:gd name="connsiteX0" fmla="*/ 70175 w 491227"/>
                <a:gd name="connsiteY0" fmla="*/ 70175 h 631578"/>
                <a:gd name="connsiteX1" fmla="*/ 175439 w 491227"/>
                <a:gd name="connsiteY1" fmla="*/ 70175 h 631578"/>
                <a:gd name="connsiteX2" fmla="*/ 242105 w 491227"/>
                <a:gd name="connsiteY2" fmla="*/ 121053 h 631578"/>
                <a:gd name="connsiteX3" fmla="*/ 277193 w 491227"/>
                <a:gd name="connsiteY3" fmla="*/ 242105 h 631578"/>
                <a:gd name="connsiteX4" fmla="*/ 278947 w 491227"/>
                <a:gd name="connsiteY4" fmla="*/ 245614 h 631578"/>
                <a:gd name="connsiteX5" fmla="*/ 70175 w 491227"/>
                <a:gd name="connsiteY5" fmla="*/ 245614 h 631578"/>
                <a:gd name="connsiteX6" fmla="*/ 70175 w 491227"/>
                <a:gd name="connsiteY6" fmla="*/ 70175 h 631578"/>
                <a:gd name="connsiteX7" fmla="*/ 175439 w 491227"/>
                <a:gd name="connsiteY7" fmla="*/ 0 h 631578"/>
                <a:gd name="connsiteX8" fmla="*/ 0 w 491227"/>
                <a:gd name="connsiteY8" fmla="*/ 0 h 631578"/>
                <a:gd name="connsiteX9" fmla="*/ 0 w 491227"/>
                <a:gd name="connsiteY9" fmla="*/ 245614 h 631578"/>
                <a:gd name="connsiteX10" fmla="*/ 0 w 491227"/>
                <a:gd name="connsiteY10" fmla="*/ 350877 h 631578"/>
                <a:gd name="connsiteX11" fmla="*/ 0 w 491227"/>
                <a:gd name="connsiteY11" fmla="*/ 631579 h 631578"/>
                <a:gd name="connsiteX12" fmla="*/ 70175 w 491227"/>
                <a:gd name="connsiteY12" fmla="*/ 631579 h 631578"/>
                <a:gd name="connsiteX13" fmla="*/ 245614 w 491227"/>
                <a:gd name="connsiteY13" fmla="*/ 456140 h 631578"/>
                <a:gd name="connsiteX14" fmla="*/ 421053 w 491227"/>
                <a:gd name="connsiteY14" fmla="*/ 631579 h 631578"/>
                <a:gd name="connsiteX15" fmla="*/ 491228 w 491227"/>
                <a:gd name="connsiteY15" fmla="*/ 561403 h 631578"/>
                <a:gd name="connsiteX16" fmla="*/ 491228 w 491227"/>
                <a:gd name="connsiteY16" fmla="*/ 385965 h 631578"/>
                <a:gd name="connsiteX17" fmla="*/ 463158 w 491227"/>
                <a:gd name="connsiteY17" fmla="*/ 329824 h 631578"/>
                <a:gd name="connsiteX18" fmla="*/ 370175 w 491227"/>
                <a:gd name="connsiteY18" fmla="*/ 259649 h 631578"/>
                <a:gd name="connsiteX19" fmla="*/ 345614 w 491227"/>
                <a:gd name="connsiteY19" fmla="*/ 222807 h 631578"/>
                <a:gd name="connsiteX20" fmla="*/ 310526 w 491227"/>
                <a:gd name="connsiteY20" fmla="*/ 101754 h 631578"/>
                <a:gd name="connsiteX21" fmla="*/ 175439 w 491227"/>
                <a:gd name="connsiteY21" fmla="*/ 0 h 631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1227" h="631578">
                  <a:moveTo>
                    <a:pt x="70175" y="70175"/>
                  </a:moveTo>
                  <a:lnTo>
                    <a:pt x="175439" y="70175"/>
                  </a:lnTo>
                  <a:cubicBezTo>
                    <a:pt x="207018" y="70175"/>
                    <a:pt x="235088" y="91228"/>
                    <a:pt x="242105" y="121053"/>
                  </a:cubicBezTo>
                  <a:lnTo>
                    <a:pt x="277193" y="242105"/>
                  </a:lnTo>
                  <a:cubicBezTo>
                    <a:pt x="277193" y="243860"/>
                    <a:pt x="278947" y="243860"/>
                    <a:pt x="278947" y="245614"/>
                  </a:cubicBezTo>
                  <a:lnTo>
                    <a:pt x="70175" y="245614"/>
                  </a:lnTo>
                  <a:lnTo>
                    <a:pt x="70175" y="70175"/>
                  </a:lnTo>
                  <a:close/>
                  <a:moveTo>
                    <a:pt x="175439" y="0"/>
                  </a:moveTo>
                  <a:lnTo>
                    <a:pt x="0" y="0"/>
                  </a:lnTo>
                  <a:lnTo>
                    <a:pt x="0" y="245614"/>
                  </a:lnTo>
                  <a:lnTo>
                    <a:pt x="0" y="350877"/>
                  </a:lnTo>
                  <a:lnTo>
                    <a:pt x="0" y="631579"/>
                  </a:lnTo>
                  <a:lnTo>
                    <a:pt x="70175" y="631579"/>
                  </a:lnTo>
                  <a:cubicBezTo>
                    <a:pt x="70175" y="535088"/>
                    <a:pt x="149123" y="456140"/>
                    <a:pt x="245614" y="456140"/>
                  </a:cubicBezTo>
                  <a:cubicBezTo>
                    <a:pt x="342105" y="456140"/>
                    <a:pt x="421053" y="535088"/>
                    <a:pt x="421053" y="631579"/>
                  </a:cubicBezTo>
                  <a:cubicBezTo>
                    <a:pt x="459649" y="631579"/>
                    <a:pt x="491228" y="600000"/>
                    <a:pt x="491228" y="561403"/>
                  </a:cubicBezTo>
                  <a:lnTo>
                    <a:pt x="491228" y="385965"/>
                  </a:lnTo>
                  <a:cubicBezTo>
                    <a:pt x="491228" y="363158"/>
                    <a:pt x="480702" y="343860"/>
                    <a:pt x="463158" y="329824"/>
                  </a:cubicBezTo>
                  <a:lnTo>
                    <a:pt x="370175" y="259649"/>
                  </a:lnTo>
                  <a:cubicBezTo>
                    <a:pt x="357895" y="250877"/>
                    <a:pt x="349123" y="236842"/>
                    <a:pt x="345614" y="222807"/>
                  </a:cubicBezTo>
                  <a:lnTo>
                    <a:pt x="310526" y="101754"/>
                  </a:lnTo>
                  <a:cubicBezTo>
                    <a:pt x="292982" y="42105"/>
                    <a:pt x="236842" y="0"/>
                    <a:pt x="175439" y="0"/>
                  </a:cubicBez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2" name="Freihandform: Form 10">
              <a:extLst>
                <a:ext uri="{FF2B5EF4-FFF2-40B4-BE49-F238E27FC236}">
                  <a16:creationId xmlns:a16="http://schemas.microsoft.com/office/drawing/2014/main" id="{47473742-5286-426C-8009-86456E08CC1F}"/>
                </a:ext>
              </a:extLst>
            </p:cNvPr>
            <p:cNvSpPr/>
            <p:nvPr/>
          </p:nvSpPr>
          <p:spPr>
            <a:xfrm>
              <a:off x="1191332" y="2696880"/>
              <a:ext cx="1606721"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3" name="Freihandform: Form 10">
              <a:extLst>
                <a:ext uri="{FF2B5EF4-FFF2-40B4-BE49-F238E27FC236}">
                  <a16:creationId xmlns:a16="http://schemas.microsoft.com/office/drawing/2014/main" id="{556E31A9-B385-4111-B26D-D9197181D18F}"/>
                </a:ext>
              </a:extLst>
            </p:cNvPr>
            <p:cNvSpPr/>
            <p:nvPr/>
          </p:nvSpPr>
          <p:spPr>
            <a:xfrm>
              <a:off x="2856195" y="2696880"/>
              <a:ext cx="657590" cy="246620"/>
            </a:xfrm>
            <a:custGeom>
              <a:avLst/>
              <a:gdLst>
                <a:gd name="connsiteX0" fmla="*/ 0 w 982455"/>
                <a:gd name="connsiteY0" fmla="*/ 0 h 421052"/>
                <a:gd name="connsiteX1" fmla="*/ 982456 w 982455"/>
                <a:gd name="connsiteY1" fmla="*/ 0 h 421052"/>
                <a:gd name="connsiteX2" fmla="*/ 982456 w 982455"/>
                <a:gd name="connsiteY2" fmla="*/ 421053 h 421052"/>
                <a:gd name="connsiteX3" fmla="*/ 0 w 982455"/>
                <a:gd name="connsiteY3" fmla="*/ 421053 h 421052"/>
              </a:gdLst>
              <a:ahLst/>
              <a:cxnLst>
                <a:cxn ang="0">
                  <a:pos x="connsiteX0" y="connsiteY0"/>
                </a:cxn>
                <a:cxn ang="0">
                  <a:pos x="connsiteX1" y="connsiteY1"/>
                </a:cxn>
                <a:cxn ang="0">
                  <a:pos x="connsiteX2" y="connsiteY2"/>
                </a:cxn>
                <a:cxn ang="0">
                  <a:pos x="connsiteX3" y="connsiteY3"/>
                </a:cxn>
              </a:cxnLst>
              <a:rect l="l" t="t" r="r" b="b"/>
              <a:pathLst>
                <a:path w="982455" h="421052">
                  <a:moveTo>
                    <a:pt x="0" y="0"/>
                  </a:moveTo>
                  <a:lnTo>
                    <a:pt x="982456" y="0"/>
                  </a:lnTo>
                  <a:lnTo>
                    <a:pt x="982456" y="421053"/>
                  </a:lnTo>
                  <a:lnTo>
                    <a:pt x="0" y="421053"/>
                  </a:lnTo>
                  <a:close/>
                </a:path>
              </a:pathLst>
            </a:custGeom>
            <a:solidFill>
              <a:srgbClr val="CCCCD4"/>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4" name="Freihandform: Form 8">
              <a:extLst>
                <a:ext uri="{FF2B5EF4-FFF2-40B4-BE49-F238E27FC236}">
                  <a16:creationId xmlns:a16="http://schemas.microsoft.com/office/drawing/2014/main" id="{BCDA99A5-4378-41E2-8189-4F1D4A950528}"/>
                </a:ext>
              </a:extLst>
            </p:cNvPr>
            <p:cNvSpPr/>
            <p:nvPr/>
          </p:nvSpPr>
          <p:spPr>
            <a:xfrm>
              <a:off x="183142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5" name="Freihandform: Form 8">
              <a:extLst>
                <a:ext uri="{FF2B5EF4-FFF2-40B4-BE49-F238E27FC236}">
                  <a16:creationId xmlns:a16="http://schemas.microsoft.com/office/drawing/2014/main" id="{651875D0-1E67-4520-94BE-F0BC0BBFF8F4}"/>
                </a:ext>
              </a:extLst>
            </p:cNvPr>
            <p:cNvSpPr/>
            <p:nvPr/>
          </p:nvSpPr>
          <p:spPr>
            <a:xfrm>
              <a:off x="153789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6" name="Freihandform: Form 8">
              <a:extLst>
                <a:ext uri="{FF2B5EF4-FFF2-40B4-BE49-F238E27FC236}">
                  <a16:creationId xmlns:a16="http://schemas.microsoft.com/office/drawing/2014/main" id="{6BFD0C04-6E40-40DF-954F-78EC6BEB940D}"/>
                </a:ext>
              </a:extLst>
            </p:cNvPr>
            <p:cNvSpPr/>
            <p:nvPr/>
          </p:nvSpPr>
          <p:spPr>
            <a:xfrm>
              <a:off x="1244366"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77" name="Freihandform: Form 8">
              <a:extLst>
                <a:ext uri="{FF2B5EF4-FFF2-40B4-BE49-F238E27FC236}">
                  <a16:creationId xmlns:a16="http://schemas.microsoft.com/office/drawing/2014/main" id="{B6FD81C8-30AE-419D-AA57-D466C0CB6819}"/>
                </a:ext>
              </a:extLst>
            </p:cNvPr>
            <p:cNvSpPr/>
            <p:nvPr/>
          </p:nvSpPr>
          <p:spPr>
            <a:xfrm>
              <a:off x="1301152"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78" name="Freihandform: Form 8">
              <a:extLst>
                <a:ext uri="{FF2B5EF4-FFF2-40B4-BE49-F238E27FC236}">
                  <a16:creationId xmlns:a16="http://schemas.microsoft.com/office/drawing/2014/main" id="{57DBAE63-C3A1-4639-88E8-AD687939B5BF}"/>
                </a:ext>
              </a:extLst>
            </p:cNvPr>
            <p:cNvSpPr/>
            <p:nvPr/>
          </p:nvSpPr>
          <p:spPr>
            <a:xfrm>
              <a:off x="159535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79" name="Freihandform: Form 9">
              <a:extLst>
                <a:ext uri="{FF2B5EF4-FFF2-40B4-BE49-F238E27FC236}">
                  <a16:creationId xmlns:a16="http://schemas.microsoft.com/office/drawing/2014/main" id="{5A636B72-E04A-4742-9DDE-8FAD01B4BA0E}"/>
                </a:ext>
              </a:extLst>
            </p:cNvPr>
            <p:cNvSpPr/>
            <p:nvPr/>
          </p:nvSpPr>
          <p:spPr>
            <a:xfrm>
              <a:off x="1889569"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sp>
          <p:nvSpPr>
            <p:cNvPr id="280" name="Freihandform: Form 8">
              <a:extLst>
                <a:ext uri="{FF2B5EF4-FFF2-40B4-BE49-F238E27FC236}">
                  <a16:creationId xmlns:a16="http://schemas.microsoft.com/office/drawing/2014/main" id="{76DF66C7-9983-49E3-9D32-EA507DE0636E}"/>
                </a:ext>
              </a:extLst>
            </p:cNvPr>
            <p:cNvSpPr/>
            <p:nvPr/>
          </p:nvSpPr>
          <p:spPr>
            <a:xfrm>
              <a:off x="2907548" y="2758535"/>
              <a:ext cx="373343" cy="372133"/>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1A1A3E"/>
            </a:solidFill>
            <a:ln w="17463" cap="flat">
              <a:noFill/>
              <a:prstDash val="solid"/>
              <a:miter/>
            </a:ln>
          </p:spPr>
          <p:txBody>
            <a:bodyPr rtlCol="0" anchor="ctr"/>
            <a:lstStyle/>
            <a:p>
              <a:pPr defTabSz="913486">
                <a:defRPr/>
              </a:pPr>
              <a:endParaRPr lang="en-US" sz="1798" kern="0">
                <a:solidFill>
                  <a:srgbClr val="FFFFFF"/>
                </a:solidFill>
                <a:latin typeface="Arial"/>
              </a:endParaRPr>
            </a:p>
          </p:txBody>
        </p:sp>
        <p:sp>
          <p:nvSpPr>
            <p:cNvPr id="281" name="Freihandform: Form 9">
              <a:extLst>
                <a:ext uri="{FF2B5EF4-FFF2-40B4-BE49-F238E27FC236}">
                  <a16:creationId xmlns:a16="http://schemas.microsoft.com/office/drawing/2014/main" id="{CD058CC6-4EC8-4EFF-A9D8-87C0BC1E4DAC}"/>
                </a:ext>
              </a:extLst>
            </p:cNvPr>
            <p:cNvSpPr/>
            <p:nvPr/>
          </p:nvSpPr>
          <p:spPr>
            <a:xfrm>
              <a:off x="2965691" y="2813585"/>
              <a:ext cx="261795" cy="262035"/>
            </a:xfrm>
            <a:custGeom>
              <a:avLst/>
              <a:gdLst>
                <a:gd name="connsiteX0" fmla="*/ 245614 w 245613"/>
                <a:gd name="connsiteY0" fmla="*/ 122807 h 245613"/>
                <a:gd name="connsiteX1" fmla="*/ 122807 w 245613"/>
                <a:gd name="connsiteY1" fmla="*/ 245614 h 245613"/>
                <a:gd name="connsiteX2" fmla="*/ 0 w 245613"/>
                <a:gd name="connsiteY2" fmla="*/ 122807 h 245613"/>
                <a:gd name="connsiteX3" fmla="*/ 122807 w 245613"/>
                <a:gd name="connsiteY3" fmla="*/ 0 h 245613"/>
                <a:gd name="connsiteX4" fmla="*/ 245614 w 245613"/>
                <a:gd name="connsiteY4" fmla="*/ 122807 h 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613" h="245613">
                  <a:moveTo>
                    <a:pt x="245614" y="122807"/>
                  </a:moveTo>
                  <a:cubicBezTo>
                    <a:pt x="245614" y="190631"/>
                    <a:pt x="190631" y="245614"/>
                    <a:pt x="122807" y="245614"/>
                  </a:cubicBezTo>
                  <a:cubicBezTo>
                    <a:pt x="54983" y="245614"/>
                    <a:pt x="0" y="190631"/>
                    <a:pt x="0" y="122807"/>
                  </a:cubicBezTo>
                  <a:cubicBezTo>
                    <a:pt x="0" y="54983"/>
                    <a:pt x="54983" y="0"/>
                    <a:pt x="122807" y="0"/>
                  </a:cubicBezTo>
                  <a:cubicBezTo>
                    <a:pt x="190631" y="0"/>
                    <a:pt x="245614" y="54983"/>
                    <a:pt x="245614" y="122807"/>
                  </a:cubicBezTo>
                  <a:close/>
                </a:path>
              </a:pathLst>
            </a:custGeom>
            <a:solidFill>
              <a:srgbClr val="CCCCD4"/>
            </a:solidFill>
            <a:ln w="17463" cap="flat">
              <a:solidFill>
                <a:schemeClr val="tx2"/>
              </a:solidFill>
              <a:prstDash val="solid"/>
              <a:miter/>
            </a:ln>
          </p:spPr>
          <p:txBody>
            <a:bodyPr rtlCol="0" anchor="ctr"/>
            <a:lstStyle/>
            <a:p>
              <a:pPr defTabSz="913486">
                <a:defRPr/>
              </a:pPr>
              <a:endParaRPr lang="en-US" sz="1798" kern="0">
                <a:solidFill>
                  <a:srgbClr val="FFFFFF"/>
                </a:solidFill>
                <a:latin typeface="Arial"/>
              </a:endParaRPr>
            </a:p>
          </p:txBody>
        </p:sp>
        <p:grpSp>
          <p:nvGrpSpPr>
            <p:cNvPr id="282" name="Group 169">
              <a:extLst>
                <a:ext uri="{FF2B5EF4-FFF2-40B4-BE49-F238E27FC236}">
                  <a16:creationId xmlns:a16="http://schemas.microsoft.com/office/drawing/2014/main" id="{AD9554CA-BB6C-474D-9982-B99EB71615E1}"/>
                </a:ext>
              </a:extLst>
            </p:cNvPr>
            <p:cNvGrpSpPr/>
            <p:nvPr/>
          </p:nvGrpSpPr>
          <p:grpSpPr>
            <a:xfrm>
              <a:off x="3460367" y="1863768"/>
              <a:ext cx="410331" cy="405370"/>
              <a:chOff x="8840187" y="2466693"/>
              <a:chExt cx="2051841" cy="2027040"/>
            </a:xfrm>
            <a:solidFill>
              <a:schemeClr val="accent2">
                <a:lumMod val="60000"/>
                <a:lumOff val="40000"/>
              </a:schemeClr>
            </a:solidFill>
          </p:grpSpPr>
          <p:sp>
            <p:nvSpPr>
              <p:cNvPr id="283" name="Freihandform: Form 118">
                <a:extLst>
                  <a:ext uri="{FF2B5EF4-FFF2-40B4-BE49-F238E27FC236}">
                    <a16:creationId xmlns:a16="http://schemas.microsoft.com/office/drawing/2014/main" id="{C935C675-C469-448B-8FF7-9AFBF5835420}"/>
                  </a:ext>
                </a:extLst>
              </p:cNvPr>
              <p:cNvSpPr/>
              <p:nvPr/>
            </p:nvSpPr>
            <p:spPr bwMode="auto">
              <a:xfrm>
                <a:off x="9651716" y="3419477"/>
                <a:ext cx="759619" cy="664372"/>
              </a:xfrm>
              <a:custGeom>
                <a:avLst/>
                <a:gdLst>
                  <a:gd name="connsiteX0" fmla="*/ 719138 w 759619"/>
                  <a:gd name="connsiteY0" fmla="*/ 0 h 664369"/>
                  <a:gd name="connsiteX1" fmla="*/ 0 w 759619"/>
                  <a:gd name="connsiteY1" fmla="*/ 664369 h 664369"/>
                  <a:gd name="connsiteX2" fmla="*/ 111919 w 759619"/>
                  <a:gd name="connsiteY2" fmla="*/ 664369 h 664369"/>
                  <a:gd name="connsiteX3" fmla="*/ 759619 w 759619"/>
                  <a:gd name="connsiteY3" fmla="*/ 35719 h 664369"/>
                  <a:gd name="connsiteX4" fmla="*/ 719138 w 759619"/>
                  <a:gd name="connsiteY4" fmla="*/ 0 h 66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19" h="664369">
                    <a:moveTo>
                      <a:pt x="719138" y="0"/>
                    </a:moveTo>
                    <a:lnTo>
                      <a:pt x="0" y="664369"/>
                    </a:lnTo>
                    <a:lnTo>
                      <a:pt x="111919" y="664369"/>
                    </a:lnTo>
                    <a:lnTo>
                      <a:pt x="759619" y="35719"/>
                    </a:lnTo>
                    <a:lnTo>
                      <a:pt x="719138"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84" name="Rechteck: abgerundete Ecken 69">
                <a:extLst>
                  <a:ext uri="{FF2B5EF4-FFF2-40B4-BE49-F238E27FC236}">
                    <a16:creationId xmlns:a16="http://schemas.microsoft.com/office/drawing/2014/main" id="{94C7E398-BE22-4EA6-A99D-8D70131C5BB5}"/>
                  </a:ext>
                </a:extLst>
              </p:cNvPr>
              <p:cNvSpPr/>
              <p:nvPr/>
            </p:nvSpPr>
            <p:spPr bwMode="auto">
              <a:xfrm>
                <a:off x="10352279" y="3169704"/>
                <a:ext cx="107950" cy="297453"/>
              </a:xfrm>
              <a:prstGeom prst="roundRect">
                <a:avLst>
                  <a:gd name="adj" fmla="val 50000"/>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grpSp>
            <p:nvGrpSpPr>
              <p:cNvPr id="285" name="Gruppieren 143">
                <a:extLst>
                  <a:ext uri="{FF2B5EF4-FFF2-40B4-BE49-F238E27FC236}">
                    <a16:creationId xmlns:a16="http://schemas.microsoft.com/office/drawing/2014/main" id="{80B3FA95-8B96-452A-A096-AEC2495832FA}"/>
                  </a:ext>
                </a:extLst>
              </p:cNvPr>
              <p:cNvGrpSpPr/>
              <p:nvPr/>
            </p:nvGrpSpPr>
            <p:grpSpPr>
              <a:xfrm>
                <a:off x="10383517" y="3200031"/>
                <a:ext cx="45719" cy="45719"/>
                <a:chOff x="5981516" y="3097167"/>
                <a:chExt cx="60938" cy="60938"/>
              </a:xfrm>
              <a:grpFill/>
            </p:grpSpPr>
            <p:sp>
              <p:nvSpPr>
                <p:cNvPr id="299" name="Freihandform: Form 144">
                  <a:extLst>
                    <a:ext uri="{FF2B5EF4-FFF2-40B4-BE49-F238E27FC236}">
                      <a16:creationId xmlns:a16="http://schemas.microsoft.com/office/drawing/2014/main" id="{230206C8-604A-4225-AD55-61DC2E063FBF}"/>
                    </a:ext>
                  </a:extLst>
                </p:cNvPr>
                <p:cNvSpPr/>
                <p:nvPr/>
              </p:nvSpPr>
              <p:spPr>
                <a:xfrm rot="18473561" flipH="1" flipV="1">
                  <a:off x="5981516" y="3097167"/>
                  <a:ext cx="60938" cy="60938"/>
                </a:xfrm>
                <a:custGeom>
                  <a:avLst/>
                  <a:gdLst>
                    <a:gd name="connsiteX0" fmla="*/ 115164 w 128594"/>
                    <a:gd name="connsiteY0" fmla="*/ 102874 h 128594"/>
                    <a:gd name="connsiteX1" fmla="*/ 25093 w 128594"/>
                    <a:gd name="connsiteY1" fmla="*/ 115305 h 128594"/>
                    <a:gd name="connsiteX2" fmla="*/ 12662 w 128594"/>
                    <a:gd name="connsiteY2" fmla="*/ 25234 h 128594"/>
                    <a:gd name="connsiteX3" fmla="*/ 102687 w 128594"/>
                    <a:gd name="connsiteY3" fmla="*/ 12767 h 128594"/>
                    <a:gd name="connsiteX4" fmla="*/ 115200 w 128594"/>
                    <a:gd name="connsiteY4" fmla="*/ 102827 h 128594"/>
                    <a:gd name="connsiteX5" fmla="*/ 115164 w 128594"/>
                    <a:gd name="connsiteY5" fmla="*/ 102874 h 1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4" h="128594">
                      <a:moveTo>
                        <a:pt x="115164" y="102874"/>
                      </a:moveTo>
                      <a:cubicBezTo>
                        <a:pt x="93724" y="131179"/>
                        <a:pt x="53398" y="136745"/>
                        <a:pt x="25093" y="115305"/>
                      </a:cubicBezTo>
                      <a:cubicBezTo>
                        <a:pt x="-3212" y="93865"/>
                        <a:pt x="-8778" y="53539"/>
                        <a:pt x="12662" y="25234"/>
                      </a:cubicBezTo>
                      <a:cubicBezTo>
                        <a:pt x="34088" y="-3053"/>
                        <a:pt x="74380" y="-8633"/>
                        <a:pt x="102687" y="12767"/>
                      </a:cubicBezTo>
                      <a:cubicBezTo>
                        <a:pt x="131012" y="34181"/>
                        <a:pt x="136614" y="74502"/>
                        <a:pt x="115200" y="102827"/>
                      </a:cubicBezTo>
                      <a:cubicBezTo>
                        <a:pt x="115188" y="102843"/>
                        <a:pt x="115176" y="102858"/>
                        <a:pt x="115164" y="102874"/>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sp>
              <p:nvSpPr>
                <p:cNvPr id="302" name="Freihandform: Form 145">
                  <a:extLst>
                    <a:ext uri="{FF2B5EF4-FFF2-40B4-BE49-F238E27FC236}">
                      <a16:creationId xmlns:a16="http://schemas.microsoft.com/office/drawing/2014/main" id="{D018F594-E0C3-490F-BB5E-FB5C57178908}"/>
                    </a:ext>
                  </a:extLst>
                </p:cNvPr>
                <p:cNvSpPr/>
                <p:nvPr/>
              </p:nvSpPr>
              <p:spPr>
                <a:xfrm rot="18473561" flipH="1" flipV="1">
                  <a:off x="5993785" y="3109227"/>
                  <a:ext cx="36112" cy="36111"/>
                </a:xfrm>
                <a:custGeom>
                  <a:avLst/>
                  <a:gdLst>
                    <a:gd name="connsiteX0" fmla="*/ 68037 w 76204"/>
                    <a:gd name="connsiteY0" fmla="*/ 60931 h 76203"/>
                    <a:gd name="connsiteX1" fmla="*/ 14645 w 76204"/>
                    <a:gd name="connsiteY1" fmla="*/ 68178 h 76203"/>
                    <a:gd name="connsiteX2" fmla="*/ 7398 w 76204"/>
                    <a:gd name="connsiteY2" fmla="*/ 14786 h 76203"/>
                    <a:gd name="connsiteX3" fmla="*/ 60607 w 76204"/>
                    <a:gd name="connsiteY3" fmla="*/ 7401 h 76203"/>
                    <a:gd name="connsiteX4" fmla="*/ 68175 w 76204"/>
                    <a:gd name="connsiteY4" fmla="*/ 60748 h 76203"/>
                    <a:gd name="connsiteX5" fmla="*/ 68037 w 76204"/>
                    <a:gd name="connsiteY5" fmla="*/ 60931 h 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4" h="76203">
                      <a:moveTo>
                        <a:pt x="68037" y="60931"/>
                      </a:moveTo>
                      <a:cubicBezTo>
                        <a:pt x="55294" y="77676"/>
                        <a:pt x="31390" y="80920"/>
                        <a:pt x="14645" y="68178"/>
                      </a:cubicBezTo>
                      <a:cubicBezTo>
                        <a:pt x="-2100" y="55435"/>
                        <a:pt x="-5344" y="31531"/>
                        <a:pt x="7398" y="14786"/>
                      </a:cubicBezTo>
                      <a:cubicBezTo>
                        <a:pt x="20087" y="-1888"/>
                        <a:pt x="43858" y="-5187"/>
                        <a:pt x="60607" y="7401"/>
                      </a:cubicBezTo>
                      <a:cubicBezTo>
                        <a:pt x="77428" y="20042"/>
                        <a:pt x="80817" y="43927"/>
                        <a:pt x="68175" y="60748"/>
                      </a:cubicBezTo>
                      <a:cubicBezTo>
                        <a:pt x="68129" y="60809"/>
                        <a:pt x="68083" y="60870"/>
                        <a:pt x="68037" y="60931"/>
                      </a:cubicBezTo>
                      <a:close/>
                    </a:path>
                  </a:pathLst>
                </a:custGeom>
                <a:grpFill/>
                <a:ln w="9525" cap="flat">
                  <a:noFill/>
                  <a:prstDash val="solid"/>
                  <a:miter/>
                </a:ln>
              </p:spPr>
              <p:txBody>
                <a:bodyPr rtlCol="0" anchor="ctr"/>
                <a:lstStyle/>
                <a:p>
                  <a:pPr defTabSz="913486"/>
                  <a:endParaRPr lang="en-US" sz="1798" u="sng">
                    <a:solidFill>
                      <a:srgbClr val="FFFFFF"/>
                    </a:solidFill>
                    <a:latin typeface="Arial"/>
                  </a:endParaRPr>
                </a:p>
              </p:txBody>
            </p:sp>
          </p:grpSp>
          <p:sp>
            <p:nvSpPr>
              <p:cNvPr id="286" name="Rechteck 70">
                <a:extLst>
                  <a:ext uri="{FF2B5EF4-FFF2-40B4-BE49-F238E27FC236}">
                    <a16:creationId xmlns:a16="http://schemas.microsoft.com/office/drawing/2014/main" id="{C5097DBF-A600-4774-8966-B7F8A6375AAF}"/>
                  </a:ext>
                </a:extLst>
              </p:cNvPr>
              <p:cNvSpPr/>
              <p:nvPr/>
            </p:nvSpPr>
            <p:spPr bwMode="auto">
              <a:xfrm rot="16200000">
                <a:off x="10154851" y="2561218"/>
                <a:ext cx="63866" cy="764384"/>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87" name="Freihandform: Form 113">
                <a:extLst>
                  <a:ext uri="{FF2B5EF4-FFF2-40B4-BE49-F238E27FC236}">
                    <a16:creationId xmlns:a16="http://schemas.microsoft.com/office/drawing/2014/main" id="{082613BE-7EC7-4F03-8257-D5E929311CA6}"/>
                  </a:ext>
                </a:extLst>
              </p:cNvPr>
              <p:cNvSpPr/>
              <p:nvPr/>
            </p:nvSpPr>
            <p:spPr bwMode="auto">
              <a:xfrm>
                <a:off x="9150520" y="2533654"/>
                <a:ext cx="1092219" cy="804510"/>
              </a:xfrm>
              <a:custGeom>
                <a:avLst/>
                <a:gdLst>
                  <a:gd name="connsiteX0" fmla="*/ 80963 w 823913"/>
                  <a:gd name="connsiteY0" fmla="*/ 0 h 600075"/>
                  <a:gd name="connsiteX1" fmla="*/ 823913 w 823913"/>
                  <a:gd name="connsiteY1" fmla="*/ 552450 h 600075"/>
                  <a:gd name="connsiteX2" fmla="*/ 759619 w 823913"/>
                  <a:gd name="connsiteY2" fmla="*/ 600075 h 600075"/>
                  <a:gd name="connsiteX3" fmla="*/ 0 w 823913"/>
                  <a:gd name="connsiteY3" fmla="*/ 19050 h 600075"/>
                  <a:gd name="connsiteX4" fmla="*/ 80963 w 823913"/>
                  <a:gd name="connsiteY4" fmla="*/ 0 h 600075"/>
                  <a:gd name="connsiteX0" fmla="*/ 80963 w 973932"/>
                  <a:gd name="connsiteY0" fmla="*/ 0 h 659606"/>
                  <a:gd name="connsiteX1" fmla="*/ 973932 w 973932"/>
                  <a:gd name="connsiteY1" fmla="*/ 659606 h 659606"/>
                  <a:gd name="connsiteX2" fmla="*/ 759619 w 973932"/>
                  <a:gd name="connsiteY2" fmla="*/ 600075 h 659606"/>
                  <a:gd name="connsiteX3" fmla="*/ 0 w 973932"/>
                  <a:gd name="connsiteY3" fmla="*/ 19050 h 659606"/>
                  <a:gd name="connsiteX4" fmla="*/ 80963 w 973932"/>
                  <a:gd name="connsiteY4" fmla="*/ 0 h 659606"/>
                  <a:gd name="connsiteX0" fmla="*/ 80963 w 973932"/>
                  <a:gd name="connsiteY0" fmla="*/ 0 h 776287"/>
                  <a:gd name="connsiteX1" fmla="*/ 973932 w 973932"/>
                  <a:gd name="connsiteY1" fmla="*/ 659606 h 776287"/>
                  <a:gd name="connsiteX2" fmla="*/ 971551 w 973932"/>
                  <a:gd name="connsiteY2" fmla="*/ 776287 h 776287"/>
                  <a:gd name="connsiteX3" fmla="*/ 0 w 973932"/>
                  <a:gd name="connsiteY3" fmla="*/ 19050 h 776287"/>
                  <a:gd name="connsiteX4" fmla="*/ 80963 w 973932"/>
                  <a:gd name="connsiteY4" fmla="*/ 0 h 776287"/>
                  <a:gd name="connsiteX0" fmla="*/ 105624 w 998593"/>
                  <a:gd name="connsiteY0" fmla="*/ 0 h 776287"/>
                  <a:gd name="connsiteX1" fmla="*/ 998593 w 998593"/>
                  <a:gd name="connsiteY1" fmla="*/ 659606 h 776287"/>
                  <a:gd name="connsiteX2" fmla="*/ 996212 w 998593"/>
                  <a:gd name="connsiteY2" fmla="*/ 776287 h 776287"/>
                  <a:gd name="connsiteX3" fmla="*/ 0 w 998593"/>
                  <a:gd name="connsiteY3" fmla="*/ 38100 h 776287"/>
                  <a:gd name="connsiteX4" fmla="*/ 105624 w 998593"/>
                  <a:gd name="connsiteY4" fmla="*/ 0 h 77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593" h="776287">
                    <a:moveTo>
                      <a:pt x="105624" y="0"/>
                    </a:moveTo>
                    <a:lnTo>
                      <a:pt x="998593" y="659606"/>
                    </a:lnTo>
                    <a:cubicBezTo>
                      <a:pt x="997799" y="698500"/>
                      <a:pt x="997006" y="737393"/>
                      <a:pt x="996212" y="776287"/>
                    </a:cubicBezTo>
                    <a:lnTo>
                      <a:pt x="0" y="38100"/>
                    </a:lnTo>
                    <a:lnTo>
                      <a:pt x="10562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88" name="Freihandform: Form 27">
                <a:extLst>
                  <a:ext uri="{FF2B5EF4-FFF2-40B4-BE49-F238E27FC236}">
                    <a16:creationId xmlns:a16="http://schemas.microsoft.com/office/drawing/2014/main" id="{24D825A1-4D6C-4C91-B56B-4E46D680D1A6}"/>
                  </a:ext>
                </a:extLst>
              </p:cNvPr>
              <p:cNvSpPr/>
              <p:nvPr/>
            </p:nvSpPr>
            <p:spPr bwMode="auto">
              <a:xfrm>
                <a:off x="9294563" y="3221874"/>
                <a:ext cx="1099340" cy="878682"/>
              </a:xfrm>
              <a:custGeom>
                <a:avLst/>
                <a:gdLst>
                  <a:gd name="connsiteX0" fmla="*/ 866775 w 995362"/>
                  <a:gd name="connsiteY0" fmla="*/ 0 h 819150"/>
                  <a:gd name="connsiteX1" fmla="*/ 0 w 995362"/>
                  <a:gd name="connsiteY1" fmla="*/ 819150 h 819150"/>
                  <a:gd name="connsiteX2" fmla="*/ 276225 w 995362"/>
                  <a:gd name="connsiteY2" fmla="*/ 819150 h 819150"/>
                  <a:gd name="connsiteX3" fmla="*/ 995362 w 995362"/>
                  <a:gd name="connsiteY3" fmla="*/ 100013 h 819150"/>
                  <a:gd name="connsiteX4" fmla="*/ 866775 w 995362"/>
                  <a:gd name="connsiteY4" fmla="*/ 0 h 819150"/>
                  <a:gd name="connsiteX0" fmla="*/ 866775 w 1077912"/>
                  <a:gd name="connsiteY0" fmla="*/ 0 h 819150"/>
                  <a:gd name="connsiteX1" fmla="*/ 0 w 1077912"/>
                  <a:gd name="connsiteY1" fmla="*/ 819150 h 819150"/>
                  <a:gd name="connsiteX2" fmla="*/ 276225 w 1077912"/>
                  <a:gd name="connsiteY2" fmla="*/ 819150 h 819150"/>
                  <a:gd name="connsiteX3" fmla="*/ 1077912 w 1077912"/>
                  <a:gd name="connsiteY3" fmla="*/ 20638 h 819150"/>
                  <a:gd name="connsiteX4" fmla="*/ 866775 w 1077912"/>
                  <a:gd name="connsiteY4" fmla="*/ 0 h 819150"/>
                  <a:gd name="connsiteX0" fmla="*/ 866775 w 1099343"/>
                  <a:gd name="connsiteY0" fmla="*/ 17462 h 836612"/>
                  <a:gd name="connsiteX1" fmla="*/ 0 w 1099343"/>
                  <a:gd name="connsiteY1" fmla="*/ 836612 h 836612"/>
                  <a:gd name="connsiteX2" fmla="*/ 276225 w 1099343"/>
                  <a:gd name="connsiteY2" fmla="*/ 836612 h 836612"/>
                  <a:gd name="connsiteX3" fmla="*/ 1099343 w 1099343"/>
                  <a:gd name="connsiteY3" fmla="*/ 0 h 836612"/>
                  <a:gd name="connsiteX4" fmla="*/ 866775 w 1099343"/>
                  <a:gd name="connsiteY4" fmla="*/ 17462 h 836612"/>
                  <a:gd name="connsiteX0" fmla="*/ 866775 w 1023143"/>
                  <a:gd name="connsiteY0" fmla="*/ 0 h 819150"/>
                  <a:gd name="connsiteX1" fmla="*/ 0 w 1023143"/>
                  <a:gd name="connsiteY1" fmla="*/ 819150 h 819150"/>
                  <a:gd name="connsiteX2" fmla="*/ 276225 w 1023143"/>
                  <a:gd name="connsiteY2" fmla="*/ 819150 h 819150"/>
                  <a:gd name="connsiteX3" fmla="*/ 1023143 w 1023143"/>
                  <a:gd name="connsiteY3" fmla="*/ 51594 h 819150"/>
                  <a:gd name="connsiteX4" fmla="*/ 866775 w 1023143"/>
                  <a:gd name="connsiteY4" fmla="*/ 0 h 819150"/>
                  <a:gd name="connsiteX0" fmla="*/ 866775 w 1023143"/>
                  <a:gd name="connsiteY0" fmla="*/ 0 h 826294"/>
                  <a:gd name="connsiteX1" fmla="*/ 0 w 1023143"/>
                  <a:gd name="connsiteY1" fmla="*/ 819150 h 826294"/>
                  <a:gd name="connsiteX2" fmla="*/ 202407 w 1023143"/>
                  <a:gd name="connsiteY2" fmla="*/ 826294 h 826294"/>
                  <a:gd name="connsiteX3" fmla="*/ 1023143 w 1023143"/>
                  <a:gd name="connsiteY3" fmla="*/ 51594 h 826294"/>
                  <a:gd name="connsiteX4" fmla="*/ 866775 w 1023143"/>
                  <a:gd name="connsiteY4" fmla="*/ 0 h 826294"/>
                  <a:gd name="connsiteX0" fmla="*/ 866775 w 1011237"/>
                  <a:gd name="connsiteY0" fmla="*/ 0 h 826294"/>
                  <a:gd name="connsiteX1" fmla="*/ 0 w 1011237"/>
                  <a:gd name="connsiteY1" fmla="*/ 819150 h 826294"/>
                  <a:gd name="connsiteX2" fmla="*/ 202407 w 1011237"/>
                  <a:gd name="connsiteY2" fmla="*/ 826294 h 826294"/>
                  <a:gd name="connsiteX3" fmla="*/ 1011237 w 1011237"/>
                  <a:gd name="connsiteY3" fmla="*/ 51594 h 826294"/>
                  <a:gd name="connsiteX4" fmla="*/ 866775 w 1011237"/>
                  <a:gd name="connsiteY4" fmla="*/ 0 h 826294"/>
                  <a:gd name="connsiteX0" fmla="*/ 866775 w 1080293"/>
                  <a:gd name="connsiteY0" fmla="*/ 15081 h 841375"/>
                  <a:gd name="connsiteX1" fmla="*/ 0 w 1080293"/>
                  <a:gd name="connsiteY1" fmla="*/ 834231 h 841375"/>
                  <a:gd name="connsiteX2" fmla="*/ 202407 w 1080293"/>
                  <a:gd name="connsiteY2" fmla="*/ 841375 h 841375"/>
                  <a:gd name="connsiteX3" fmla="*/ 1080293 w 1080293"/>
                  <a:gd name="connsiteY3" fmla="*/ 0 h 841375"/>
                  <a:gd name="connsiteX4" fmla="*/ 866775 w 1080293"/>
                  <a:gd name="connsiteY4" fmla="*/ 15081 h 841375"/>
                  <a:gd name="connsiteX0" fmla="*/ 926306 w 1080293"/>
                  <a:gd name="connsiteY0" fmla="*/ 0 h 878682"/>
                  <a:gd name="connsiteX1" fmla="*/ 0 w 1080293"/>
                  <a:gd name="connsiteY1" fmla="*/ 871538 h 878682"/>
                  <a:gd name="connsiteX2" fmla="*/ 202407 w 1080293"/>
                  <a:gd name="connsiteY2" fmla="*/ 878682 h 878682"/>
                  <a:gd name="connsiteX3" fmla="*/ 1080293 w 1080293"/>
                  <a:gd name="connsiteY3" fmla="*/ 37307 h 878682"/>
                  <a:gd name="connsiteX4" fmla="*/ 926306 w 1080293"/>
                  <a:gd name="connsiteY4" fmla="*/ 0 h 878682"/>
                  <a:gd name="connsiteX0" fmla="*/ 926306 w 1099343"/>
                  <a:gd name="connsiteY0" fmla="*/ 0 h 878682"/>
                  <a:gd name="connsiteX1" fmla="*/ 0 w 1099343"/>
                  <a:gd name="connsiteY1" fmla="*/ 871538 h 878682"/>
                  <a:gd name="connsiteX2" fmla="*/ 202407 w 1099343"/>
                  <a:gd name="connsiteY2" fmla="*/ 878682 h 878682"/>
                  <a:gd name="connsiteX3" fmla="*/ 1099343 w 1099343"/>
                  <a:gd name="connsiteY3" fmla="*/ 18257 h 878682"/>
                  <a:gd name="connsiteX4" fmla="*/ 926306 w 1099343"/>
                  <a:gd name="connsiteY4" fmla="*/ 0 h 878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343" h="878682">
                    <a:moveTo>
                      <a:pt x="926306" y="0"/>
                    </a:moveTo>
                    <a:lnTo>
                      <a:pt x="0" y="871538"/>
                    </a:lnTo>
                    <a:lnTo>
                      <a:pt x="202407" y="878682"/>
                    </a:lnTo>
                    <a:lnTo>
                      <a:pt x="1099343" y="18257"/>
                    </a:lnTo>
                    <a:lnTo>
                      <a:pt x="926306" y="0"/>
                    </a:ln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89" name="Rechteck 36">
                <a:extLst>
                  <a:ext uri="{FF2B5EF4-FFF2-40B4-BE49-F238E27FC236}">
                    <a16:creationId xmlns:a16="http://schemas.microsoft.com/office/drawing/2014/main" id="{C2A968DD-957D-4E73-B297-0CA0FDF95585}"/>
                  </a:ext>
                </a:extLst>
              </p:cNvPr>
              <p:cNvSpPr/>
              <p:nvPr/>
            </p:nvSpPr>
            <p:spPr bwMode="auto">
              <a:xfrm>
                <a:off x="10411334" y="2492375"/>
                <a:ext cx="170310" cy="76157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0" name="Rechteck 33">
                <a:extLst>
                  <a:ext uri="{FF2B5EF4-FFF2-40B4-BE49-F238E27FC236}">
                    <a16:creationId xmlns:a16="http://schemas.microsoft.com/office/drawing/2014/main" id="{D8B2F16D-4164-4E9D-8AEB-8E279F847E87}"/>
                  </a:ext>
                </a:extLst>
              </p:cNvPr>
              <p:cNvSpPr/>
              <p:nvPr/>
            </p:nvSpPr>
            <p:spPr bwMode="auto">
              <a:xfrm>
                <a:off x="9158196" y="2466693"/>
                <a:ext cx="1415773" cy="118946"/>
              </a:xfrm>
              <a:prstGeom prst="rect">
                <a:avLst/>
              </a:pr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1" name="Freihandform: Form 41">
                <a:extLst>
                  <a:ext uri="{FF2B5EF4-FFF2-40B4-BE49-F238E27FC236}">
                    <a16:creationId xmlns:a16="http://schemas.microsoft.com/office/drawing/2014/main" id="{7B9353BA-68FC-4821-BCF8-2AF90B6A1D90}"/>
                  </a:ext>
                </a:extLst>
              </p:cNvPr>
              <p:cNvSpPr/>
              <p:nvPr/>
            </p:nvSpPr>
            <p:spPr bwMode="auto">
              <a:xfrm>
                <a:off x="8976744"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2" name="Freihandform: Form 63">
                <a:extLst>
                  <a:ext uri="{FF2B5EF4-FFF2-40B4-BE49-F238E27FC236}">
                    <a16:creationId xmlns:a16="http://schemas.microsoft.com/office/drawing/2014/main" id="{0DA819A2-32F3-4C9F-9773-C64CBE7D7007}"/>
                  </a:ext>
                </a:extLst>
              </p:cNvPr>
              <p:cNvSpPr/>
              <p:nvPr/>
            </p:nvSpPr>
            <p:spPr bwMode="auto">
              <a:xfrm>
                <a:off x="88401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3" name="Freihandform: Form 66">
                <a:extLst>
                  <a:ext uri="{FF2B5EF4-FFF2-40B4-BE49-F238E27FC236}">
                    <a16:creationId xmlns:a16="http://schemas.microsoft.com/office/drawing/2014/main" id="{6686167F-CA04-4C1A-92C5-D61AFE644D65}"/>
                  </a:ext>
                </a:extLst>
              </p:cNvPr>
              <p:cNvSpPr/>
              <p:nvPr/>
            </p:nvSpPr>
            <p:spPr bwMode="auto">
              <a:xfrm flipH="1">
                <a:off x="10275757" y="2535369"/>
                <a:ext cx="486059" cy="166561"/>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4" name="Freihandform: Form 67">
                <a:extLst>
                  <a:ext uri="{FF2B5EF4-FFF2-40B4-BE49-F238E27FC236}">
                    <a16:creationId xmlns:a16="http://schemas.microsoft.com/office/drawing/2014/main" id="{B19E6AB3-DD55-452F-8052-2A1A16F45B9B}"/>
                  </a:ext>
                </a:extLst>
              </p:cNvPr>
              <p:cNvSpPr/>
              <p:nvPr/>
            </p:nvSpPr>
            <p:spPr bwMode="auto">
              <a:xfrm flipH="1">
                <a:off x="10333287" y="2466693"/>
                <a:ext cx="558741" cy="235232"/>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solidFill>
                <a:srgbClr val="CCCCD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5" name="Rechteck 68">
                <a:extLst>
                  <a:ext uri="{FF2B5EF4-FFF2-40B4-BE49-F238E27FC236}">
                    <a16:creationId xmlns:a16="http://schemas.microsoft.com/office/drawing/2014/main" id="{15DA081D-5BD0-43EB-BC7B-229BC34C1EFB}"/>
                  </a:ext>
                </a:extLst>
              </p:cNvPr>
              <p:cNvSpPr/>
              <p:nvPr/>
            </p:nvSpPr>
            <p:spPr bwMode="auto">
              <a:xfrm rot="16200000">
                <a:off x="10304860" y="2977161"/>
                <a:ext cx="101174" cy="452406"/>
              </a:xfrm>
              <a:custGeom>
                <a:avLst/>
                <a:gdLst>
                  <a:gd name="connsiteX0" fmla="*/ 0 w 101174"/>
                  <a:gd name="connsiteY0" fmla="*/ 0 h 452407"/>
                  <a:gd name="connsiteX1" fmla="*/ 101174 w 101174"/>
                  <a:gd name="connsiteY1" fmla="*/ 0 h 452407"/>
                  <a:gd name="connsiteX2" fmla="*/ 101174 w 101174"/>
                  <a:gd name="connsiteY2" fmla="*/ 452407 h 452407"/>
                  <a:gd name="connsiteX3" fmla="*/ 0 w 101174"/>
                  <a:gd name="connsiteY3" fmla="*/ 452407 h 452407"/>
                  <a:gd name="connsiteX4" fmla="*/ 0 w 101174"/>
                  <a:gd name="connsiteY4" fmla="*/ 0 h 452407"/>
                  <a:gd name="connsiteX0" fmla="*/ 0 w 101175"/>
                  <a:gd name="connsiteY0" fmla="*/ 52391 h 452407"/>
                  <a:gd name="connsiteX1" fmla="*/ 101175 w 101175"/>
                  <a:gd name="connsiteY1" fmla="*/ 0 h 452407"/>
                  <a:gd name="connsiteX2" fmla="*/ 101175 w 101175"/>
                  <a:gd name="connsiteY2" fmla="*/ 452407 h 452407"/>
                  <a:gd name="connsiteX3" fmla="*/ 1 w 101175"/>
                  <a:gd name="connsiteY3" fmla="*/ 452407 h 452407"/>
                  <a:gd name="connsiteX4" fmla="*/ 0 w 101175"/>
                  <a:gd name="connsiteY4" fmla="*/ 52391 h 45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5" h="452407">
                    <a:moveTo>
                      <a:pt x="0" y="52391"/>
                    </a:moveTo>
                    <a:lnTo>
                      <a:pt x="101175" y="0"/>
                    </a:lnTo>
                    <a:lnTo>
                      <a:pt x="101175" y="452407"/>
                    </a:lnTo>
                    <a:lnTo>
                      <a:pt x="1" y="452407"/>
                    </a:lnTo>
                    <a:cubicBezTo>
                      <a:pt x="1" y="319068"/>
                      <a:pt x="0" y="185730"/>
                      <a:pt x="0" y="52391"/>
                    </a:cubicBezTo>
                    <a:close/>
                  </a:path>
                </a:pathLst>
              </a:custGeom>
              <a:solidFill>
                <a:srgbClr val="CCCCD4"/>
              </a:solid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latin typeface="Arial"/>
                  <a:ea typeface="Arial Unicode MS" panose="020B0604020202020204" pitchFamily="34" charset="-128"/>
                  <a:cs typeface="Arial" panose="020B0604020202020204" pitchFamily="34" charset="0"/>
                </a:endParaRPr>
              </a:p>
            </p:txBody>
          </p:sp>
          <p:sp>
            <p:nvSpPr>
              <p:cNvPr id="296" name="Rechteck: obere Ecken abgerundet 7">
                <a:extLst>
                  <a:ext uri="{FF2B5EF4-FFF2-40B4-BE49-F238E27FC236}">
                    <a16:creationId xmlns:a16="http://schemas.microsoft.com/office/drawing/2014/main" id="{66041B7C-54CE-441A-AEAE-8369FBFFAE04}"/>
                  </a:ext>
                </a:extLst>
              </p:cNvPr>
              <p:cNvSpPr/>
              <p:nvPr/>
            </p:nvSpPr>
            <p:spPr bwMode="auto">
              <a:xfrm>
                <a:off x="9040215" y="4064003"/>
                <a:ext cx="962022" cy="156140"/>
              </a:xfrm>
              <a:prstGeom prst="round2SameRect">
                <a:avLst>
                  <a:gd name="adj1" fmla="val 42068"/>
                  <a:gd name="adj2" fmla="val 0"/>
                </a:avLst>
              </a:pr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sp>
            <p:nvSpPr>
              <p:cNvPr id="297" name="Freihandform: Form 9">
                <a:extLst>
                  <a:ext uri="{FF2B5EF4-FFF2-40B4-BE49-F238E27FC236}">
                    <a16:creationId xmlns:a16="http://schemas.microsoft.com/office/drawing/2014/main" id="{9E9F6E8A-6728-4970-95B8-03A8D7BE1499}"/>
                  </a:ext>
                </a:extLst>
              </p:cNvPr>
              <p:cNvSpPr/>
              <p:nvPr/>
            </p:nvSpPr>
            <p:spPr>
              <a:xfrm>
                <a:off x="9040215" y="4235534"/>
                <a:ext cx="1061461" cy="258199"/>
              </a:xfrm>
              <a:custGeom>
                <a:avLst/>
                <a:gdLst>
                  <a:gd name="connsiteX0" fmla="*/ 0 w 1549400"/>
                  <a:gd name="connsiteY0" fmla="*/ 0 h 272485"/>
                  <a:gd name="connsiteX1" fmla="*/ 1406525 w 1549400"/>
                  <a:gd name="connsiteY1" fmla="*/ 0 h 272485"/>
                  <a:gd name="connsiteX2" fmla="*/ 1406526 w 1549400"/>
                  <a:gd name="connsiteY2" fmla="*/ 0 h 272485"/>
                  <a:gd name="connsiteX3" fmla="*/ 1406526 w 1549400"/>
                  <a:gd name="connsiteY3" fmla="*/ 2 h 272485"/>
                  <a:gd name="connsiteX4" fmla="*/ 1549400 w 1549400"/>
                  <a:gd name="connsiteY4" fmla="*/ 272485 h 272485"/>
                  <a:gd name="connsiteX5" fmla="*/ 1406526 w 1549400"/>
                  <a:gd name="connsiteY5" fmla="*/ 272485 h 272485"/>
                  <a:gd name="connsiteX6" fmla="*/ 1406525 w 1549400"/>
                  <a:gd name="connsiteY6" fmla="*/ 272485 h 272485"/>
                  <a:gd name="connsiteX7" fmla="*/ 0 w 1549400"/>
                  <a:gd name="connsiteY7" fmla="*/ 272485 h 27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400" h="272485">
                    <a:moveTo>
                      <a:pt x="0" y="0"/>
                    </a:moveTo>
                    <a:lnTo>
                      <a:pt x="1406525" y="0"/>
                    </a:lnTo>
                    <a:lnTo>
                      <a:pt x="1406526" y="0"/>
                    </a:lnTo>
                    <a:lnTo>
                      <a:pt x="1406526" y="2"/>
                    </a:lnTo>
                    <a:lnTo>
                      <a:pt x="1549400" y="272485"/>
                    </a:lnTo>
                    <a:lnTo>
                      <a:pt x="1406526" y="272485"/>
                    </a:lnTo>
                    <a:lnTo>
                      <a:pt x="1406525" y="272485"/>
                    </a:lnTo>
                    <a:lnTo>
                      <a:pt x="0" y="272485"/>
                    </a:lnTo>
                    <a:close/>
                  </a:path>
                </a:pathLst>
              </a:custGeom>
              <a:solidFill>
                <a:srgbClr val="CCCCD4"/>
              </a:solid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latin typeface="Arial"/>
                </a:endParaRPr>
              </a:p>
            </p:txBody>
          </p:sp>
        </p:grpSp>
      </p:grpSp>
      <p:sp>
        <p:nvSpPr>
          <p:cNvPr id="304" name="Oval 32">
            <a:extLst>
              <a:ext uri="{FF2B5EF4-FFF2-40B4-BE49-F238E27FC236}">
                <a16:creationId xmlns:a16="http://schemas.microsoft.com/office/drawing/2014/main" id="{350F9A61-FD1E-49EF-8B32-F6C86640885F}"/>
              </a:ext>
            </a:extLst>
          </p:cNvPr>
          <p:cNvSpPr>
            <a:spLocks/>
          </p:cNvSpPr>
          <p:nvPr/>
        </p:nvSpPr>
        <p:spPr bwMode="auto">
          <a:xfrm>
            <a:off x="1066700" y="2086807"/>
            <a:ext cx="241712" cy="241711"/>
          </a:xfrm>
          <a:prstGeom prst="ellipse">
            <a:avLst/>
          </a:prstGeom>
          <a:solidFill>
            <a:schemeClr val="accent3"/>
          </a:solidFill>
          <a:ln w="9525" cap="flat" cmpd="sng" algn="ctr">
            <a:noFill/>
            <a:prstDash val="solid"/>
            <a:miter lim="800000"/>
            <a:headEnd type="none" w="med" len="med"/>
            <a:tailEnd type="none" w="med" len="med"/>
          </a:ln>
          <a:effectLst/>
        </p:spPr>
        <p:txBody>
          <a:bodyPr wrap="square" lIns="0" tIns="0" rIns="0" bIns="0" numCol="1" spcCol="72000" rtlCol="0" anchor="ctr">
            <a:noAutofit/>
          </a:bodyPr>
          <a:lstStyle/>
          <a:p>
            <a:pPr algn="ctr" defTabSz="913486"/>
            <a:r>
              <a:rPr lang="en-US" sz="900" b="1">
                <a:solidFill>
                  <a:schemeClr val="bg1"/>
                </a:solidFill>
              </a:rPr>
              <a:t>H</a:t>
            </a:r>
            <a:r>
              <a:rPr lang="en-US" sz="900" b="1" baseline="-25000">
                <a:solidFill>
                  <a:schemeClr val="bg1"/>
                </a:solidFill>
              </a:rPr>
              <a:t>2</a:t>
            </a:r>
          </a:p>
        </p:txBody>
      </p:sp>
      <p:grpSp>
        <p:nvGrpSpPr>
          <p:cNvPr id="330" name="Gruppieren 329">
            <a:extLst>
              <a:ext uri="{FF2B5EF4-FFF2-40B4-BE49-F238E27FC236}">
                <a16:creationId xmlns:a16="http://schemas.microsoft.com/office/drawing/2014/main" id="{C8291125-9ABB-4DDA-884B-8F78B2F11894}"/>
              </a:ext>
            </a:extLst>
          </p:cNvPr>
          <p:cNvGrpSpPr>
            <a:grpSpLocks/>
          </p:cNvGrpSpPr>
          <p:nvPr/>
        </p:nvGrpSpPr>
        <p:grpSpPr>
          <a:xfrm>
            <a:off x="1066700" y="3410302"/>
            <a:ext cx="241712" cy="241711"/>
            <a:chOff x="-580944" y="3621546"/>
            <a:chExt cx="318041" cy="318040"/>
          </a:xfrm>
        </p:grpSpPr>
        <p:sp>
          <p:nvSpPr>
            <p:cNvPr id="333" name="Oval 32">
              <a:extLst>
                <a:ext uri="{FF2B5EF4-FFF2-40B4-BE49-F238E27FC236}">
                  <a16:creationId xmlns:a16="http://schemas.microsoft.com/office/drawing/2014/main" id="{716D8095-05B1-4BFC-8AA1-AB9FF4AAAF55}"/>
                </a:ext>
              </a:extLst>
            </p:cNvPr>
            <p:cNvSpPr>
              <a:spLocks/>
            </p:cNvSpPr>
            <p:nvPr/>
          </p:nvSpPr>
          <p:spPr bwMode="auto">
            <a:xfrm>
              <a:off x="-580944" y="3621546"/>
              <a:ext cx="318041" cy="318040"/>
            </a:xfrm>
            <a:prstGeom prst="ellipse">
              <a:avLst/>
            </a:prstGeom>
            <a:solidFill>
              <a:srgbClr val="FFD73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a:solidFill>
                  <a:schemeClr val="bg1"/>
                </a:solidFill>
                <a:ea typeface="Arial Unicode MS" panose="020B0604020202020204" pitchFamily="34" charset="-128"/>
                <a:cs typeface="Arial" panose="020B0604020202020204" pitchFamily="34" charset="0"/>
              </a:endParaRPr>
            </a:p>
          </p:txBody>
        </p:sp>
        <p:sp>
          <p:nvSpPr>
            <p:cNvPr id="335" name="Freihandform: Form 334">
              <a:extLst>
                <a:ext uri="{FF2B5EF4-FFF2-40B4-BE49-F238E27FC236}">
                  <a16:creationId xmlns:a16="http://schemas.microsoft.com/office/drawing/2014/main" id="{43D36537-D342-4CB1-8864-3AA18AB498E0}"/>
                </a:ext>
              </a:extLst>
            </p:cNvPr>
            <p:cNvSpPr>
              <a:spLocks/>
            </p:cNvSpPr>
            <p:nvPr/>
          </p:nvSpPr>
          <p:spPr>
            <a:xfrm>
              <a:off x="-478568" y="3694471"/>
              <a:ext cx="113290" cy="172190"/>
            </a:xfrm>
            <a:custGeom>
              <a:avLst/>
              <a:gdLst>
                <a:gd name="connsiteX0" fmla="*/ 0 w 762343"/>
                <a:gd name="connsiteY0" fmla="*/ 609810 h 1158681"/>
                <a:gd name="connsiteX1" fmla="*/ 274463 w 762343"/>
                <a:gd name="connsiteY1" fmla="*/ 0 h 1158681"/>
                <a:gd name="connsiteX2" fmla="*/ 704417 w 762343"/>
                <a:gd name="connsiteY2" fmla="*/ 323 h 1158681"/>
                <a:gd name="connsiteX3" fmla="*/ 487880 w 762343"/>
                <a:gd name="connsiteY3" fmla="*/ 457384 h 1158681"/>
                <a:gd name="connsiteX4" fmla="*/ 762343 w 762343"/>
                <a:gd name="connsiteY4" fmla="*/ 457384 h 1158681"/>
                <a:gd name="connsiteX5" fmla="*/ 121984 w 762343"/>
                <a:gd name="connsiteY5" fmla="*/ 1158682 h 1158681"/>
                <a:gd name="connsiteX6" fmla="*/ 335455 w 762343"/>
                <a:gd name="connsiteY6" fmla="*/ 609810 h 115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343" h="1158681">
                  <a:moveTo>
                    <a:pt x="0" y="609810"/>
                  </a:moveTo>
                  <a:lnTo>
                    <a:pt x="274463" y="0"/>
                  </a:lnTo>
                  <a:lnTo>
                    <a:pt x="704417" y="323"/>
                  </a:lnTo>
                  <a:lnTo>
                    <a:pt x="487880" y="457384"/>
                  </a:lnTo>
                  <a:lnTo>
                    <a:pt x="762343" y="457384"/>
                  </a:lnTo>
                  <a:lnTo>
                    <a:pt x="121984" y="1158682"/>
                  </a:lnTo>
                  <a:lnTo>
                    <a:pt x="335455" y="609810"/>
                  </a:lnTo>
                  <a:close/>
                </a:path>
              </a:pathLst>
            </a:custGeom>
            <a:solidFill>
              <a:schemeClr val="bg1"/>
            </a:solidFill>
            <a:ln w="5376" cap="flat">
              <a:noFill/>
              <a:prstDash val="solid"/>
              <a:miter/>
            </a:ln>
          </p:spPr>
          <p:txBody>
            <a:bodyPr rtlCol="0" anchor="ctr"/>
            <a:lstStyle/>
            <a:p>
              <a:endParaRPr lang="en-US"/>
            </a:p>
          </p:txBody>
        </p:sp>
      </p:grpSp>
      <p:grpSp>
        <p:nvGrpSpPr>
          <p:cNvPr id="360" name="Gruppieren 359">
            <a:extLst>
              <a:ext uri="{FF2B5EF4-FFF2-40B4-BE49-F238E27FC236}">
                <a16:creationId xmlns:a16="http://schemas.microsoft.com/office/drawing/2014/main" id="{D4CEC040-6A81-478A-A704-86DED1205790}"/>
              </a:ext>
            </a:extLst>
          </p:cNvPr>
          <p:cNvGrpSpPr>
            <a:grpSpLocks/>
          </p:cNvGrpSpPr>
          <p:nvPr/>
        </p:nvGrpSpPr>
        <p:grpSpPr>
          <a:xfrm>
            <a:off x="972393" y="4772312"/>
            <a:ext cx="430326" cy="241711"/>
            <a:chOff x="628794" y="4772312"/>
            <a:chExt cx="430326" cy="241711"/>
          </a:xfrm>
        </p:grpSpPr>
        <p:grpSp>
          <p:nvGrpSpPr>
            <p:cNvPr id="361" name="Gruppieren 360">
              <a:extLst>
                <a:ext uri="{FF2B5EF4-FFF2-40B4-BE49-F238E27FC236}">
                  <a16:creationId xmlns:a16="http://schemas.microsoft.com/office/drawing/2014/main" id="{CC274363-55AE-4D52-9214-54326AE7C70A}"/>
                </a:ext>
              </a:extLst>
            </p:cNvPr>
            <p:cNvGrpSpPr>
              <a:grpSpLocks/>
            </p:cNvGrpSpPr>
            <p:nvPr/>
          </p:nvGrpSpPr>
          <p:grpSpPr>
            <a:xfrm>
              <a:off x="817408" y="4772312"/>
              <a:ext cx="241712" cy="241711"/>
              <a:chOff x="-188753" y="4759071"/>
              <a:chExt cx="318041" cy="318040"/>
            </a:xfrm>
          </p:grpSpPr>
          <p:sp>
            <p:nvSpPr>
              <p:cNvPr id="366" name="Oval 32">
                <a:extLst>
                  <a:ext uri="{FF2B5EF4-FFF2-40B4-BE49-F238E27FC236}">
                    <a16:creationId xmlns:a16="http://schemas.microsoft.com/office/drawing/2014/main" id="{9A1BD1E8-9F3B-4313-A731-3EDA6D233A67}"/>
                  </a:ext>
                </a:extLst>
              </p:cNvPr>
              <p:cNvSpPr/>
              <p:nvPr/>
            </p:nvSpPr>
            <p:spPr bwMode="auto">
              <a:xfrm>
                <a:off x="-188753" y="4759071"/>
                <a:ext cx="318041" cy="318040"/>
              </a:xfrm>
              <a:prstGeom prst="ellipse">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u="sng">
                  <a:solidFill>
                    <a:schemeClr val="bg1"/>
                  </a:solidFill>
                  <a:ea typeface="Arial Unicode MS" panose="020B0604020202020204" pitchFamily="34" charset="-128"/>
                  <a:cs typeface="Arial" panose="020B0604020202020204" pitchFamily="34" charset="0"/>
                </a:endParaRPr>
              </a:p>
            </p:txBody>
          </p:sp>
          <p:sp>
            <p:nvSpPr>
              <p:cNvPr id="367" name="Freeform 549">
                <a:extLst>
                  <a:ext uri="{FF2B5EF4-FFF2-40B4-BE49-F238E27FC236}">
                    <a16:creationId xmlns:a16="http://schemas.microsoft.com/office/drawing/2014/main" id="{DAD0FA5A-5A97-484E-9060-30890818B715}"/>
                  </a:ext>
                </a:extLst>
              </p:cNvPr>
              <p:cNvSpPr>
                <a:spLocks noChangeAspect="1" noEditPoints="1"/>
              </p:cNvSpPr>
              <p:nvPr/>
            </p:nvSpPr>
            <p:spPr bwMode="auto">
              <a:xfrm>
                <a:off x="-83980" y="4824763"/>
                <a:ext cx="146861" cy="186655"/>
              </a:xfrm>
              <a:custGeom>
                <a:avLst/>
                <a:gdLst/>
                <a:ahLst/>
                <a:cxnLst>
                  <a:cxn ang="0">
                    <a:pos x="10" y="51"/>
                  </a:cxn>
                  <a:cxn ang="0">
                    <a:pos x="10" y="15"/>
                  </a:cxn>
                  <a:cxn ang="0">
                    <a:pos x="74" y="15"/>
                  </a:cxn>
                  <a:cxn ang="0">
                    <a:pos x="74" y="51"/>
                  </a:cxn>
                  <a:cxn ang="0">
                    <a:pos x="10" y="51"/>
                  </a:cxn>
                  <a:cxn ang="0">
                    <a:pos x="78" y="0"/>
                  </a:cxn>
                  <a:cxn ang="0">
                    <a:pos x="6" y="0"/>
                  </a:cxn>
                  <a:cxn ang="0">
                    <a:pos x="0" y="6"/>
                  </a:cxn>
                  <a:cxn ang="0">
                    <a:pos x="0" y="6"/>
                  </a:cxn>
                  <a:cxn ang="0">
                    <a:pos x="0" y="166"/>
                  </a:cxn>
                  <a:cxn ang="0">
                    <a:pos x="85" y="166"/>
                  </a:cxn>
                  <a:cxn ang="0">
                    <a:pos x="85" y="65"/>
                  </a:cxn>
                  <a:cxn ang="0">
                    <a:pos x="86" y="65"/>
                  </a:cxn>
                  <a:cxn ang="0">
                    <a:pos x="93" y="71"/>
                  </a:cxn>
                  <a:cxn ang="0">
                    <a:pos x="94" y="87"/>
                  </a:cxn>
                  <a:cxn ang="0">
                    <a:pos x="95" y="124"/>
                  </a:cxn>
                  <a:cxn ang="0">
                    <a:pos x="95" y="125"/>
                  </a:cxn>
                  <a:cxn ang="0">
                    <a:pos x="95" y="134"/>
                  </a:cxn>
                  <a:cxn ang="0">
                    <a:pos x="99" y="150"/>
                  </a:cxn>
                  <a:cxn ang="0">
                    <a:pos x="114" y="158"/>
                  </a:cxn>
                  <a:cxn ang="0">
                    <a:pos x="114" y="158"/>
                  </a:cxn>
                  <a:cxn ang="0">
                    <a:pos x="128" y="148"/>
                  </a:cxn>
                  <a:cxn ang="0">
                    <a:pos x="131" y="136"/>
                  </a:cxn>
                  <a:cxn ang="0">
                    <a:pos x="127" y="116"/>
                  </a:cxn>
                  <a:cxn ang="0">
                    <a:pos x="112" y="55"/>
                  </a:cxn>
                  <a:cxn ang="0">
                    <a:pos x="112" y="52"/>
                  </a:cxn>
                  <a:cxn ang="0">
                    <a:pos x="115" y="52"/>
                  </a:cxn>
                  <a:cxn ang="0">
                    <a:pos x="119" y="51"/>
                  </a:cxn>
                  <a:cxn ang="0">
                    <a:pos x="96" y="19"/>
                  </a:cxn>
                  <a:cxn ang="0">
                    <a:pos x="92" y="25"/>
                  </a:cxn>
                  <a:cxn ang="0">
                    <a:pos x="106" y="48"/>
                  </a:cxn>
                  <a:cxn ang="0">
                    <a:pos x="106" y="49"/>
                  </a:cxn>
                  <a:cxn ang="0">
                    <a:pos x="106" y="55"/>
                  </a:cxn>
                  <a:cxn ang="0">
                    <a:pos x="121" y="117"/>
                  </a:cxn>
                  <a:cxn ang="0">
                    <a:pos x="125" y="136"/>
                  </a:cxn>
                  <a:cxn ang="0">
                    <a:pos x="123" y="145"/>
                  </a:cxn>
                  <a:cxn ang="0">
                    <a:pos x="114" y="152"/>
                  </a:cxn>
                  <a:cxn ang="0">
                    <a:pos x="104" y="146"/>
                  </a:cxn>
                  <a:cxn ang="0">
                    <a:pos x="101" y="134"/>
                  </a:cxn>
                  <a:cxn ang="0">
                    <a:pos x="101" y="125"/>
                  </a:cxn>
                  <a:cxn ang="0">
                    <a:pos x="101" y="124"/>
                  </a:cxn>
                  <a:cxn ang="0">
                    <a:pos x="100" y="87"/>
                  </a:cxn>
                  <a:cxn ang="0">
                    <a:pos x="98" y="69"/>
                  </a:cxn>
                  <a:cxn ang="0">
                    <a:pos x="87" y="59"/>
                  </a:cxn>
                  <a:cxn ang="0">
                    <a:pos x="86" y="59"/>
                  </a:cxn>
                  <a:cxn ang="0">
                    <a:pos x="85" y="59"/>
                  </a:cxn>
                  <a:cxn ang="0">
                    <a:pos x="85" y="6"/>
                  </a:cxn>
                  <a:cxn ang="0">
                    <a:pos x="85" y="6"/>
                  </a:cxn>
                  <a:cxn ang="0">
                    <a:pos x="78" y="0"/>
                  </a:cxn>
                </a:cxnLst>
                <a:rect l="0" t="0" r="r" b="b"/>
                <a:pathLst>
                  <a:path w="131" h="166">
                    <a:moveTo>
                      <a:pt x="10" y="51"/>
                    </a:moveTo>
                    <a:cubicBezTo>
                      <a:pt x="10" y="15"/>
                      <a:pt x="10" y="15"/>
                      <a:pt x="10" y="15"/>
                    </a:cubicBezTo>
                    <a:cubicBezTo>
                      <a:pt x="74" y="15"/>
                      <a:pt x="74" y="15"/>
                      <a:pt x="74" y="15"/>
                    </a:cubicBezTo>
                    <a:cubicBezTo>
                      <a:pt x="74" y="51"/>
                      <a:pt x="74" y="51"/>
                      <a:pt x="74" y="51"/>
                    </a:cubicBezTo>
                    <a:cubicBezTo>
                      <a:pt x="10" y="51"/>
                      <a:pt x="10" y="51"/>
                      <a:pt x="10" y="51"/>
                    </a:cubicBezTo>
                    <a:moveTo>
                      <a:pt x="78" y="0"/>
                    </a:moveTo>
                    <a:cubicBezTo>
                      <a:pt x="6" y="0"/>
                      <a:pt x="6" y="0"/>
                      <a:pt x="6" y="0"/>
                    </a:cubicBezTo>
                    <a:cubicBezTo>
                      <a:pt x="3" y="0"/>
                      <a:pt x="0" y="3"/>
                      <a:pt x="0" y="6"/>
                    </a:cubicBezTo>
                    <a:cubicBezTo>
                      <a:pt x="0" y="6"/>
                      <a:pt x="0" y="6"/>
                      <a:pt x="0" y="6"/>
                    </a:cubicBezTo>
                    <a:cubicBezTo>
                      <a:pt x="0" y="166"/>
                      <a:pt x="0" y="166"/>
                      <a:pt x="0" y="166"/>
                    </a:cubicBezTo>
                    <a:cubicBezTo>
                      <a:pt x="85" y="166"/>
                      <a:pt x="85" y="166"/>
                      <a:pt x="85" y="166"/>
                    </a:cubicBezTo>
                    <a:cubicBezTo>
                      <a:pt x="85" y="65"/>
                      <a:pt x="85" y="65"/>
                      <a:pt x="85" y="65"/>
                    </a:cubicBezTo>
                    <a:cubicBezTo>
                      <a:pt x="85" y="65"/>
                      <a:pt x="86" y="65"/>
                      <a:pt x="86" y="65"/>
                    </a:cubicBezTo>
                    <a:cubicBezTo>
                      <a:pt x="90" y="66"/>
                      <a:pt x="91" y="67"/>
                      <a:pt x="93" y="71"/>
                    </a:cubicBezTo>
                    <a:cubicBezTo>
                      <a:pt x="94" y="75"/>
                      <a:pt x="94" y="81"/>
                      <a:pt x="94" y="87"/>
                    </a:cubicBezTo>
                    <a:cubicBezTo>
                      <a:pt x="94" y="100"/>
                      <a:pt x="95" y="112"/>
                      <a:pt x="95" y="124"/>
                    </a:cubicBezTo>
                    <a:cubicBezTo>
                      <a:pt x="95" y="124"/>
                      <a:pt x="95" y="124"/>
                      <a:pt x="95" y="125"/>
                    </a:cubicBezTo>
                    <a:cubicBezTo>
                      <a:pt x="95" y="127"/>
                      <a:pt x="95" y="131"/>
                      <a:pt x="95" y="134"/>
                    </a:cubicBezTo>
                    <a:cubicBezTo>
                      <a:pt x="95" y="139"/>
                      <a:pt x="95" y="145"/>
                      <a:pt x="99" y="150"/>
                    </a:cubicBezTo>
                    <a:cubicBezTo>
                      <a:pt x="103" y="155"/>
                      <a:pt x="108" y="158"/>
                      <a:pt x="114" y="158"/>
                    </a:cubicBezTo>
                    <a:cubicBezTo>
                      <a:pt x="114" y="158"/>
                      <a:pt x="114" y="158"/>
                      <a:pt x="114" y="158"/>
                    </a:cubicBezTo>
                    <a:cubicBezTo>
                      <a:pt x="120" y="158"/>
                      <a:pt x="125" y="154"/>
                      <a:pt x="128" y="148"/>
                    </a:cubicBezTo>
                    <a:cubicBezTo>
                      <a:pt x="130" y="144"/>
                      <a:pt x="131" y="140"/>
                      <a:pt x="131" y="136"/>
                    </a:cubicBezTo>
                    <a:cubicBezTo>
                      <a:pt x="131" y="129"/>
                      <a:pt x="129" y="121"/>
                      <a:pt x="127" y="116"/>
                    </a:cubicBezTo>
                    <a:cubicBezTo>
                      <a:pt x="123" y="96"/>
                      <a:pt x="112" y="74"/>
                      <a:pt x="112" y="55"/>
                    </a:cubicBezTo>
                    <a:cubicBezTo>
                      <a:pt x="112" y="54"/>
                      <a:pt x="112" y="53"/>
                      <a:pt x="112" y="52"/>
                    </a:cubicBezTo>
                    <a:cubicBezTo>
                      <a:pt x="113" y="52"/>
                      <a:pt x="114" y="52"/>
                      <a:pt x="115" y="52"/>
                    </a:cubicBezTo>
                    <a:cubicBezTo>
                      <a:pt x="117" y="52"/>
                      <a:pt x="118" y="52"/>
                      <a:pt x="119" y="51"/>
                    </a:cubicBezTo>
                    <a:cubicBezTo>
                      <a:pt x="124" y="46"/>
                      <a:pt x="101" y="24"/>
                      <a:pt x="96" y="19"/>
                    </a:cubicBezTo>
                    <a:cubicBezTo>
                      <a:pt x="96" y="19"/>
                      <a:pt x="91" y="23"/>
                      <a:pt x="92" y="25"/>
                    </a:cubicBezTo>
                    <a:cubicBezTo>
                      <a:pt x="95" y="27"/>
                      <a:pt x="106" y="48"/>
                      <a:pt x="106" y="48"/>
                    </a:cubicBezTo>
                    <a:cubicBezTo>
                      <a:pt x="106" y="49"/>
                      <a:pt x="106" y="49"/>
                      <a:pt x="106" y="49"/>
                    </a:cubicBezTo>
                    <a:cubicBezTo>
                      <a:pt x="106" y="51"/>
                      <a:pt x="106" y="53"/>
                      <a:pt x="106" y="55"/>
                    </a:cubicBezTo>
                    <a:cubicBezTo>
                      <a:pt x="106" y="76"/>
                      <a:pt x="117" y="98"/>
                      <a:pt x="121" y="117"/>
                    </a:cubicBezTo>
                    <a:cubicBezTo>
                      <a:pt x="123" y="123"/>
                      <a:pt x="125" y="130"/>
                      <a:pt x="125" y="136"/>
                    </a:cubicBezTo>
                    <a:cubicBezTo>
                      <a:pt x="125" y="139"/>
                      <a:pt x="124" y="142"/>
                      <a:pt x="123" y="145"/>
                    </a:cubicBezTo>
                    <a:cubicBezTo>
                      <a:pt x="120" y="150"/>
                      <a:pt x="117" y="152"/>
                      <a:pt x="114" y="152"/>
                    </a:cubicBezTo>
                    <a:cubicBezTo>
                      <a:pt x="111" y="152"/>
                      <a:pt x="107" y="150"/>
                      <a:pt x="104" y="146"/>
                    </a:cubicBezTo>
                    <a:cubicBezTo>
                      <a:pt x="102" y="143"/>
                      <a:pt x="101" y="139"/>
                      <a:pt x="101" y="134"/>
                    </a:cubicBezTo>
                    <a:cubicBezTo>
                      <a:pt x="101" y="131"/>
                      <a:pt x="101" y="128"/>
                      <a:pt x="101" y="125"/>
                    </a:cubicBezTo>
                    <a:cubicBezTo>
                      <a:pt x="101" y="124"/>
                      <a:pt x="101" y="124"/>
                      <a:pt x="101" y="124"/>
                    </a:cubicBezTo>
                    <a:cubicBezTo>
                      <a:pt x="101" y="111"/>
                      <a:pt x="100" y="99"/>
                      <a:pt x="100" y="87"/>
                    </a:cubicBezTo>
                    <a:cubicBezTo>
                      <a:pt x="100" y="81"/>
                      <a:pt x="100" y="74"/>
                      <a:pt x="98" y="69"/>
                    </a:cubicBezTo>
                    <a:cubicBezTo>
                      <a:pt x="97" y="64"/>
                      <a:pt x="93" y="59"/>
                      <a:pt x="87" y="59"/>
                    </a:cubicBezTo>
                    <a:cubicBezTo>
                      <a:pt x="87" y="59"/>
                      <a:pt x="87" y="59"/>
                      <a:pt x="86" y="59"/>
                    </a:cubicBezTo>
                    <a:cubicBezTo>
                      <a:pt x="86" y="59"/>
                      <a:pt x="85" y="59"/>
                      <a:pt x="85" y="59"/>
                    </a:cubicBezTo>
                    <a:cubicBezTo>
                      <a:pt x="85" y="6"/>
                      <a:pt x="85" y="6"/>
                      <a:pt x="85" y="6"/>
                    </a:cubicBezTo>
                    <a:cubicBezTo>
                      <a:pt x="85" y="6"/>
                      <a:pt x="85" y="6"/>
                      <a:pt x="85" y="6"/>
                    </a:cubicBezTo>
                    <a:cubicBezTo>
                      <a:pt x="84" y="3"/>
                      <a:pt x="82" y="0"/>
                      <a:pt x="78" y="0"/>
                    </a:cubicBezTo>
                  </a:path>
                </a:pathLst>
              </a:custGeom>
              <a:solidFill>
                <a:schemeClr val="bg1"/>
              </a:solidFill>
              <a:ln w="9525">
                <a:noFill/>
                <a:round/>
                <a:headEnd/>
                <a:tailEnd/>
              </a:ln>
            </p:spPr>
            <p:txBody>
              <a:bodyPr/>
              <a:lstStyle/>
              <a:p>
                <a:pPr defTabSz="913486">
                  <a:defRPr/>
                </a:pPr>
                <a:endParaRPr lang="en-US" sz="1798" u="sng" kern="0">
                  <a:solidFill>
                    <a:srgbClr val="233746"/>
                  </a:solidFill>
                </a:endParaRPr>
              </a:p>
            </p:txBody>
          </p:sp>
          <p:sp>
            <p:nvSpPr>
              <p:cNvPr id="368" name="Freeform 1127">
                <a:extLst>
                  <a:ext uri="{FF2B5EF4-FFF2-40B4-BE49-F238E27FC236}">
                    <a16:creationId xmlns:a16="http://schemas.microsoft.com/office/drawing/2014/main" id="{4BE07C17-EAF1-46C8-83AB-B356CA7DF84D}"/>
                  </a:ext>
                </a:extLst>
              </p:cNvPr>
              <p:cNvSpPr>
                <a:spLocks noChangeAspect="1"/>
              </p:cNvSpPr>
              <p:nvPr>
                <p:custDataLst>
                  <p:tags r:id="rId2"/>
                </p:custDataLst>
              </p:nvPr>
            </p:nvSpPr>
            <p:spPr bwMode="auto">
              <a:xfrm>
                <a:off x="-68292" y="4898999"/>
                <a:ext cx="65214" cy="93436"/>
              </a:xfrm>
              <a:custGeom>
                <a:avLst/>
                <a:gdLst/>
                <a:ahLst/>
                <a:cxnLst>
                  <a:cxn ang="0">
                    <a:pos x="65" y="138"/>
                  </a:cxn>
                  <a:cxn ang="0">
                    <a:pos x="61" y="142"/>
                  </a:cxn>
                  <a:cxn ang="0">
                    <a:pos x="61" y="109"/>
                  </a:cxn>
                  <a:cxn ang="0">
                    <a:pos x="69" y="101"/>
                  </a:cxn>
                  <a:cxn ang="0">
                    <a:pos x="114" y="49"/>
                  </a:cxn>
                  <a:cxn ang="0">
                    <a:pos x="65" y="97"/>
                  </a:cxn>
                  <a:cxn ang="0">
                    <a:pos x="61" y="101"/>
                  </a:cxn>
                  <a:cxn ang="0">
                    <a:pos x="61" y="73"/>
                  </a:cxn>
                  <a:cxn ang="0">
                    <a:pos x="58" y="0"/>
                  </a:cxn>
                  <a:cxn ang="0">
                    <a:pos x="58" y="2"/>
                  </a:cxn>
                  <a:cxn ang="0">
                    <a:pos x="58" y="0"/>
                  </a:cxn>
                  <a:cxn ang="0">
                    <a:pos x="55" y="73"/>
                  </a:cxn>
                  <a:cxn ang="0">
                    <a:pos x="55" y="101"/>
                  </a:cxn>
                  <a:cxn ang="0">
                    <a:pos x="51" y="97"/>
                  </a:cxn>
                  <a:cxn ang="0">
                    <a:pos x="3" y="49"/>
                  </a:cxn>
                  <a:cxn ang="0">
                    <a:pos x="48" y="101"/>
                  </a:cxn>
                  <a:cxn ang="0">
                    <a:pos x="55" y="109"/>
                  </a:cxn>
                  <a:cxn ang="0">
                    <a:pos x="55" y="142"/>
                  </a:cxn>
                  <a:cxn ang="0">
                    <a:pos x="52" y="138"/>
                  </a:cxn>
                  <a:cxn ang="0">
                    <a:pos x="0" y="87"/>
                  </a:cxn>
                  <a:cxn ang="0">
                    <a:pos x="48" y="142"/>
                  </a:cxn>
                  <a:cxn ang="0">
                    <a:pos x="55" y="150"/>
                  </a:cxn>
                  <a:cxn ang="0">
                    <a:pos x="55" y="166"/>
                  </a:cxn>
                  <a:cxn ang="0">
                    <a:pos x="61" y="166"/>
                  </a:cxn>
                  <a:cxn ang="0">
                    <a:pos x="61" y="150"/>
                  </a:cxn>
                  <a:cxn ang="0">
                    <a:pos x="69" y="142"/>
                  </a:cxn>
                  <a:cxn ang="0">
                    <a:pos x="116" y="87"/>
                  </a:cxn>
                  <a:cxn ang="0">
                    <a:pos x="65" y="138"/>
                  </a:cxn>
                </a:cxnLst>
                <a:rect l="0" t="0" r="r" b="b"/>
                <a:pathLst>
                  <a:path w="116" h="166">
                    <a:moveTo>
                      <a:pt x="65" y="138"/>
                    </a:moveTo>
                    <a:cubicBezTo>
                      <a:pt x="61" y="142"/>
                      <a:pt x="61" y="142"/>
                      <a:pt x="61" y="142"/>
                    </a:cubicBezTo>
                    <a:cubicBezTo>
                      <a:pt x="61" y="109"/>
                      <a:pt x="61" y="109"/>
                      <a:pt x="61" y="109"/>
                    </a:cubicBezTo>
                    <a:cubicBezTo>
                      <a:pt x="69" y="101"/>
                      <a:pt x="69" y="101"/>
                      <a:pt x="69" y="101"/>
                    </a:cubicBezTo>
                    <a:cubicBezTo>
                      <a:pt x="106" y="97"/>
                      <a:pt x="104" y="59"/>
                      <a:pt x="114" y="49"/>
                    </a:cubicBezTo>
                    <a:cubicBezTo>
                      <a:pt x="105" y="59"/>
                      <a:pt x="67" y="60"/>
                      <a:pt x="65" y="97"/>
                    </a:cubicBezTo>
                    <a:cubicBezTo>
                      <a:pt x="61" y="101"/>
                      <a:pt x="61" y="101"/>
                      <a:pt x="61" y="101"/>
                    </a:cubicBezTo>
                    <a:cubicBezTo>
                      <a:pt x="61" y="73"/>
                      <a:pt x="61" y="73"/>
                      <a:pt x="61" y="73"/>
                    </a:cubicBezTo>
                    <a:cubicBezTo>
                      <a:pt x="87" y="43"/>
                      <a:pt x="58" y="15"/>
                      <a:pt x="58" y="0"/>
                    </a:cubicBezTo>
                    <a:cubicBezTo>
                      <a:pt x="58" y="1"/>
                      <a:pt x="58" y="1"/>
                      <a:pt x="58" y="2"/>
                    </a:cubicBezTo>
                    <a:cubicBezTo>
                      <a:pt x="58" y="1"/>
                      <a:pt x="58" y="1"/>
                      <a:pt x="58" y="0"/>
                    </a:cubicBezTo>
                    <a:cubicBezTo>
                      <a:pt x="58" y="15"/>
                      <a:pt x="29" y="43"/>
                      <a:pt x="55" y="73"/>
                    </a:cubicBezTo>
                    <a:cubicBezTo>
                      <a:pt x="55" y="101"/>
                      <a:pt x="55" y="101"/>
                      <a:pt x="55" y="101"/>
                    </a:cubicBezTo>
                    <a:cubicBezTo>
                      <a:pt x="51" y="97"/>
                      <a:pt x="51" y="97"/>
                      <a:pt x="51" y="97"/>
                    </a:cubicBezTo>
                    <a:cubicBezTo>
                      <a:pt x="50" y="60"/>
                      <a:pt x="12" y="59"/>
                      <a:pt x="3" y="49"/>
                    </a:cubicBezTo>
                    <a:cubicBezTo>
                      <a:pt x="12" y="59"/>
                      <a:pt x="11" y="97"/>
                      <a:pt x="48" y="101"/>
                    </a:cubicBezTo>
                    <a:cubicBezTo>
                      <a:pt x="55" y="109"/>
                      <a:pt x="55" y="109"/>
                      <a:pt x="55" y="109"/>
                    </a:cubicBezTo>
                    <a:cubicBezTo>
                      <a:pt x="55" y="142"/>
                      <a:pt x="55" y="142"/>
                      <a:pt x="55" y="142"/>
                    </a:cubicBezTo>
                    <a:cubicBezTo>
                      <a:pt x="52" y="138"/>
                      <a:pt x="52" y="138"/>
                      <a:pt x="52" y="138"/>
                    </a:cubicBezTo>
                    <a:cubicBezTo>
                      <a:pt x="50" y="99"/>
                      <a:pt x="10" y="97"/>
                      <a:pt x="0" y="87"/>
                    </a:cubicBezTo>
                    <a:cubicBezTo>
                      <a:pt x="10" y="97"/>
                      <a:pt x="8" y="138"/>
                      <a:pt x="48" y="142"/>
                    </a:cubicBezTo>
                    <a:cubicBezTo>
                      <a:pt x="55" y="150"/>
                      <a:pt x="55" y="150"/>
                      <a:pt x="55" y="150"/>
                    </a:cubicBezTo>
                    <a:cubicBezTo>
                      <a:pt x="55" y="166"/>
                      <a:pt x="55" y="166"/>
                      <a:pt x="55" y="166"/>
                    </a:cubicBezTo>
                    <a:cubicBezTo>
                      <a:pt x="61" y="166"/>
                      <a:pt x="61" y="166"/>
                      <a:pt x="61" y="166"/>
                    </a:cubicBezTo>
                    <a:cubicBezTo>
                      <a:pt x="61" y="150"/>
                      <a:pt x="61" y="150"/>
                      <a:pt x="61" y="150"/>
                    </a:cubicBezTo>
                    <a:cubicBezTo>
                      <a:pt x="69" y="142"/>
                      <a:pt x="69" y="142"/>
                      <a:pt x="69" y="142"/>
                    </a:cubicBezTo>
                    <a:cubicBezTo>
                      <a:pt x="108" y="138"/>
                      <a:pt x="107" y="97"/>
                      <a:pt x="116" y="87"/>
                    </a:cubicBezTo>
                    <a:cubicBezTo>
                      <a:pt x="107" y="97"/>
                      <a:pt x="66" y="99"/>
                      <a:pt x="65" y="138"/>
                    </a:cubicBezTo>
                    <a:close/>
                  </a:path>
                </a:pathLst>
              </a:custGeom>
              <a:solidFill>
                <a:schemeClr val="accent2"/>
              </a:solidFill>
              <a:ln w="9525">
                <a:noFill/>
                <a:round/>
                <a:headEnd/>
                <a:tailEnd/>
              </a:ln>
            </p:spPr>
            <p:txBody>
              <a:bodyPr/>
              <a:lstStyle/>
              <a:p>
                <a:pPr defTabSz="913486">
                  <a:defRPr/>
                </a:pPr>
                <a:endParaRPr lang="en-US" sz="1798" u="sng" kern="0">
                  <a:solidFill>
                    <a:srgbClr val="233746"/>
                  </a:solidFill>
                </a:endParaRPr>
              </a:p>
            </p:txBody>
          </p:sp>
        </p:grpSp>
        <p:grpSp>
          <p:nvGrpSpPr>
            <p:cNvPr id="363" name="Gruppieren 362">
              <a:extLst>
                <a:ext uri="{FF2B5EF4-FFF2-40B4-BE49-F238E27FC236}">
                  <a16:creationId xmlns:a16="http://schemas.microsoft.com/office/drawing/2014/main" id="{28F80B81-9BB3-46C6-A49E-27A656052D4C}"/>
                </a:ext>
              </a:extLst>
            </p:cNvPr>
            <p:cNvGrpSpPr>
              <a:grpSpLocks/>
            </p:cNvGrpSpPr>
            <p:nvPr/>
          </p:nvGrpSpPr>
          <p:grpSpPr>
            <a:xfrm>
              <a:off x="628794" y="4772312"/>
              <a:ext cx="241712" cy="241711"/>
              <a:chOff x="-188753" y="4759071"/>
              <a:chExt cx="318041" cy="318040"/>
            </a:xfrm>
          </p:grpSpPr>
          <p:sp>
            <p:nvSpPr>
              <p:cNvPr id="364" name="Oval 32">
                <a:extLst>
                  <a:ext uri="{FF2B5EF4-FFF2-40B4-BE49-F238E27FC236}">
                    <a16:creationId xmlns:a16="http://schemas.microsoft.com/office/drawing/2014/main" id="{8CC1516A-092C-4347-A256-59CBF2648AFB}"/>
                  </a:ext>
                </a:extLst>
              </p:cNvPr>
              <p:cNvSpPr/>
              <p:nvPr/>
            </p:nvSpPr>
            <p:spPr bwMode="auto">
              <a:xfrm>
                <a:off x="-188753" y="4759071"/>
                <a:ext cx="318041" cy="318040"/>
              </a:xfrm>
              <a:prstGeom prst="ellipse">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spcBef>
                    <a:spcPct val="0"/>
                  </a:spcBef>
                </a:pPr>
                <a:endParaRPr lang="en-US" sz="1100" u="sng">
                  <a:solidFill>
                    <a:schemeClr val="bg1"/>
                  </a:solidFill>
                  <a:ea typeface="Arial Unicode MS" panose="020B0604020202020204" pitchFamily="34" charset="-128"/>
                  <a:cs typeface="Arial" panose="020B0604020202020204" pitchFamily="34" charset="0"/>
                </a:endParaRPr>
              </a:p>
            </p:txBody>
          </p:sp>
          <p:sp>
            <p:nvSpPr>
              <p:cNvPr id="365" name="Freeform 549">
                <a:extLst>
                  <a:ext uri="{FF2B5EF4-FFF2-40B4-BE49-F238E27FC236}">
                    <a16:creationId xmlns:a16="http://schemas.microsoft.com/office/drawing/2014/main" id="{67F800D2-4B16-4E9A-948D-3CA2F17296FD}"/>
                  </a:ext>
                </a:extLst>
              </p:cNvPr>
              <p:cNvSpPr>
                <a:spLocks noChangeAspect="1" noEditPoints="1"/>
              </p:cNvSpPr>
              <p:nvPr/>
            </p:nvSpPr>
            <p:spPr bwMode="auto">
              <a:xfrm>
                <a:off x="-83980" y="4824763"/>
                <a:ext cx="146861" cy="186655"/>
              </a:xfrm>
              <a:custGeom>
                <a:avLst/>
                <a:gdLst/>
                <a:ahLst/>
                <a:cxnLst>
                  <a:cxn ang="0">
                    <a:pos x="10" y="51"/>
                  </a:cxn>
                  <a:cxn ang="0">
                    <a:pos x="10" y="15"/>
                  </a:cxn>
                  <a:cxn ang="0">
                    <a:pos x="74" y="15"/>
                  </a:cxn>
                  <a:cxn ang="0">
                    <a:pos x="74" y="51"/>
                  </a:cxn>
                  <a:cxn ang="0">
                    <a:pos x="10" y="51"/>
                  </a:cxn>
                  <a:cxn ang="0">
                    <a:pos x="78" y="0"/>
                  </a:cxn>
                  <a:cxn ang="0">
                    <a:pos x="6" y="0"/>
                  </a:cxn>
                  <a:cxn ang="0">
                    <a:pos x="0" y="6"/>
                  </a:cxn>
                  <a:cxn ang="0">
                    <a:pos x="0" y="6"/>
                  </a:cxn>
                  <a:cxn ang="0">
                    <a:pos x="0" y="166"/>
                  </a:cxn>
                  <a:cxn ang="0">
                    <a:pos x="85" y="166"/>
                  </a:cxn>
                  <a:cxn ang="0">
                    <a:pos x="85" y="65"/>
                  </a:cxn>
                  <a:cxn ang="0">
                    <a:pos x="86" y="65"/>
                  </a:cxn>
                  <a:cxn ang="0">
                    <a:pos x="93" y="71"/>
                  </a:cxn>
                  <a:cxn ang="0">
                    <a:pos x="94" y="87"/>
                  </a:cxn>
                  <a:cxn ang="0">
                    <a:pos x="95" y="124"/>
                  </a:cxn>
                  <a:cxn ang="0">
                    <a:pos x="95" y="125"/>
                  </a:cxn>
                  <a:cxn ang="0">
                    <a:pos x="95" y="134"/>
                  </a:cxn>
                  <a:cxn ang="0">
                    <a:pos x="99" y="150"/>
                  </a:cxn>
                  <a:cxn ang="0">
                    <a:pos x="114" y="158"/>
                  </a:cxn>
                  <a:cxn ang="0">
                    <a:pos x="114" y="158"/>
                  </a:cxn>
                  <a:cxn ang="0">
                    <a:pos x="128" y="148"/>
                  </a:cxn>
                  <a:cxn ang="0">
                    <a:pos x="131" y="136"/>
                  </a:cxn>
                  <a:cxn ang="0">
                    <a:pos x="127" y="116"/>
                  </a:cxn>
                  <a:cxn ang="0">
                    <a:pos x="112" y="55"/>
                  </a:cxn>
                  <a:cxn ang="0">
                    <a:pos x="112" y="52"/>
                  </a:cxn>
                  <a:cxn ang="0">
                    <a:pos x="115" y="52"/>
                  </a:cxn>
                  <a:cxn ang="0">
                    <a:pos x="119" y="51"/>
                  </a:cxn>
                  <a:cxn ang="0">
                    <a:pos x="96" y="19"/>
                  </a:cxn>
                  <a:cxn ang="0">
                    <a:pos x="92" y="25"/>
                  </a:cxn>
                  <a:cxn ang="0">
                    <a:pos x="106" y="48"/>
                  </a:cxn>
                  <a:cxn ang="0">
                    <a:pos x="106" y="49"/>
                  </a:cxn>
                  <a:cxn ang="0">
                    <a:pos x="106" y="55"/>
                  </a:cxn>
                  <a:cxn ang="0">
                    <a:pos x="121" y="117"/>
                  </a:cxn>
                  <a:cxn ang="0">
                    <a:pos x="125" y="136"/>
                  </a:cxn>
                  <a:cxn ang="0">
                    <a:pos x="123" y="145"/>
                  </a:cxn>
                  <a:cxn ang="0">
                    <a:pos x="114" y="152"/>
                  </a:cxn>
                  <a:cxn ang="0">
                    <a:pos x="104" y="146"/>
                  </a:cxn>
                  <a:cxn ang="0">
                    <a:pos x="101" y="134"/>
                  </a:cxn>
                  <a:cxn ang="0">
                    <a:pos x="101" y="125"/>
                  </a:cxn>
                  <a:cxn ang="0">
                    <a:pos x="101" y="124"/>
                  </a:cxn>
                  <a:cxn ang="0">
                    <a:pos x="100" y="87"/>
                  </a:cxn>
                  <a:cxn ang="0">
                    <a:pos x="98" y="69"/>
                  </a:cxn>
                  <a:cxn ang="0">
                    <a:pos x="87" y="59"/>
                  </a:cxn>
                  <a:cxn ang="0">
                    <a:pos x="86" y="59"/>
                  </a:cxn>
                  <a:cxn ang="0">
                    <a:pos x="85" y="59"/>
                  </a:cxn>
                  <a:cxn ang="0">
                    <a:pos x="85" y="6"/>
                  </a:cxn>
                  <a:cxn ang="0">
                    <a:pos x="85" y="6"/>
                  </a:cxn>
                  <a:cxn ang="0">
                    <a:pos x="78" y="0"/>
                  </a:cxn>
                </a:cxnLst>
                <a:rect l="0" t="0" r="r" b="b"/>
                <a:pathLst>
                  <a:path w="131" h="166">
                    <a:moveTo>
                      <a:pt x="10" y="51"/>
                    </a:moveTo>
                    <a:cubicBezTo>
                      <a:pt x="10" y="15"/>
                      <a:pt x="10" y="15"/>
                      <a:pt x="10" y="15"/>
                    </a:cubicBezTo>
                    <a:cubicBezTo>
                      <a:pt x="74" y="15"/>
                      <a:pt x="74" y="15"/>
                      <a:pt x="74" y="15"/>
                    </a:cubicBezTo>
                    <a:cubicBezTo>
                      <a:pt x="74" y="51"/>
                      <a:pt x="74" y="51"/>
                      <a:pt x="74" y="51"/>
                    </a:cubicBezTo>
                    <a:cubicBezTo>
                      <a:pt x="10" y="51"/>
                      <a:pt x="10" y="51"/>
                      <a:pt x="10" y="51"/>
                    </a:cubicBezTo>
                    <a:moveTo>
                      <a:pt x="78" y="0"/>
                    </a:moveTo>
                    <a:cubicBezTo>
                      <a:pt x="6" y="0"/>
                      <a:pt x="6" y="0"/>
                      <a:pt x="6" y="0"/>
                    </a:cubicBezTo>
                    <a:cubicBezTo>
                      <a:pt x="3" y="0"/>
                      <a:pt x="0" y="3"/>
                      <a:pt x="0" y="6"/>
                    </a:cubicBezTo>
                    <a:cubicBezTo>
                      <a:pt x="0" y="6"/>
                      <a:pt x="0" y="6"/>
                      <a:pt x="0" y="6"/>
                    </a:cubicBezTo>
                    <a:cubicBezTo>
                      <a:pt x="0" y="166"/>
                      <a:pt x="0" y="166"/>
                      <a:pt x="0" y="166"/>
                    </a:cubicBezTo>
                    <a:cubicBezTo>
                      <a:pt x="85" y="166"/>
                      <a:pt x="85" y="166"/>
                      <a:pt x="85" y="166"/>
                    </a:cubicBezTo>
                    <a:cubicBezTo>
                      <a:pt x="85" y="65"/>
                      <a:pt x="85" y="65"/>
                      <a:pt x="85" y="65"/>
                    </a:cubicBezTo>
                    <a:cubicBezTo>
                      <a:pt x="85" y="65"/>
                      <a:pt x="86" y="65"/>
                      <a:pt x="86" y="65"/>
                    </a:cubicBezTo>
                    <a:cubicBezTo>
                      <a:pt x="90" y="66"/>
                      <a:pt x="91" y="67"/>
                      <a:pt x="93" y="71"/>
                    </a:cubicBezTo>
                    <a:cubicBezTo>
                      <a:pt x="94" y="75"/>
                      <a:pt x="94" y="81"/>
                      <a:pt x="94" y="87"/>
                    </a:cubicBezTo>
                    <a:cubicBezTo>
                      <a:pt x="94" y="100"/>
                      <a:pt x="95" y="112"/>
                      <a:pt x="95" y="124"/>
                    </a:cubicBezTo>
                    <a:cubicBezTo>
                      <a:pt x="95" y="124"/>
                      <a:pt x="95" y="124"/>
                      <a:pt x="95" y="125"/>
                    </a:cubicBezTo>
                    <a:cubicBezTo>
                      <a:pt x="95" y="127"/>
                      <a:pt x="95" y="131"/>
                      <a:pt x="95" y="134"/>
                    </a:cubicBezTo>
                    <a:cubicBezTo>
                      <a:pt x="95" y="139"/>
                      <a:pt x="95" y="145"/>
                      <a:pt x="99" y="150"/>
                    </a:cubicBezTo>
                    <a:cubicBezTo>
                      <a:pt x="103" y="155"/>
                      <a:pt x="108" y="158"/>
                      <a:pt x="114" y="158"/>
                    </a:cubicBezTo>
                    <a:cubicBezTo>
                      <a:pt x="114" y="158"/>
                      <a:pt x="114" y="158"/>
                      <a:pt x="114" y="158"/>
                    </a:cubicBezTo>
                    <a:cubicBezTo>
                      <a:pt x="120" y="158"/>
                      <a:pt x="125" y="154"/>
                      <a:pt x="128" y="148"/>
                    </a:cubicBezTo>
                    <a:cubicBezTo>
                      <a:pt x="130" y="144"/>
                      <a:pt x="131" y="140"/>
                      <a:pt x="131" y="136"/>
                    </a:cubicBezTo>
                    <a:cubicBezTo>
                      <a:pt x="131" y="129"/>
                      <a:pt x="129" y="121"/>
                      <a:pt x="127" y="116"/>
                    </a:cubicBezTo>
                    <a:cubicBezTo>
                      <a:pt x="123" y="96"/>
                      <a:pt x="112" y="74"/>
                      <a:pt x="112" y="55"/>
                    </a:cubicBezTo>
                    <a:cubicBezTo>
                      <a:pt x="112" y="54"/>
                      <a:pt x="112" y="53"/>
                      <a:pt x="112" y="52"/>
                    </a:cubicBezTo>
                    <a:cubicBezTo>
                      <a:pt x="113" y="52"/>
                      <a:pt x="114" y="52"/>
                      <a:pt x="115" y="52"/>
                    </a:cubicBezTo>
                    <a:cubicBezTo>
                      <a:pt x="117" y="52"/>
                      <a:pt x="118" y="52"/>
                      <a:pt x="119" y="51"/>
                    </a:cubicBezTo>
                    <a:cubicBezTo>
                      <a:pt x="124" y="46"/>
                      <a:pt x="101" y="24"/>
                      <a:pt x="96" y="19"/>
                    </a:cubicBezTo>
                    <a:cubicBezTo>
                      <a:pt x="96" y="19"/>
                      <a:pt x="91" y="23"/>
                      <a:pt x="92" y="25"/>
                    </a:cubicBezTo>
                    <a:cubicBezTo>
                      <a:pt x="95" y="27"/>
                      <a:pt x="106" y="48"/>
                      <a:pt x="106" y="48"/>
                    </a:cubicBezTo>
                    <a:cubicBezTo>
                      <a:pt x="106" y="49"/>
                      <a:pt x="106" y="49"/>
                      <a:pt x="106" y="49"/>
                    </a:cubicBezTo>
                    <a:cubicBezTo>
                      <a:pt x="106" y="51"/>
                      <a:pt x="106" y="53"/>
                      <a:pt x="106" y="55"/>
                    </a:cubicBezTo>
                    <a:cubicBezTo>
                      <a:pt x="106" y="76"/>
                      <a:pt x="117" y="98"/>
                      <a:pt x="121" y="117"/>
                    </a:cubicBezTo>
                    <a:cubicBezTo>
                      <a:pt x="123" y="123"/>
                      <a:pt x="125" y="130"/>
                      <a:pt x="125" y="136"/>
                    </a:cubicBezTo>
                    <a:cubicBezTo>
                      <a:pt x="125" y="139"/>
                      <a:pt x="124" y="142"/>
                      <a:pt x="123" y="145"/>
                    </a:cubicBezTo>
                    <a:cubicBezTo>
                      <a:pt x="120" y="150"/>
                      <a:pt x="117" y="152"/>
                      <a:pt x="114" y="152"/>
                    </a:cubicBezTo>
                    <a:cubicBezTo>
                      <a:pt x="111" y="152"/>
                      <a:pt x="107" y="150"/>
                      <a:pt x="104" y="146"/>
                    </a:cubicBezTo>
                    <a:cubicBezTo>
                      <a:pt x="102" y="143"/>
                      <a:pt x="101" y="139"/>
                      <a:pt x="101" y="134"/>
                    </a:cubicBezTo>
                    <a:cubicBezTo>
                      <a:pt x="101" y="131"/>
                      <a:pt x="101" y="128"/>
                      <a:pt x="101" y="125"/>
                    </a:cubicBezTo>
                    <a:cubicBezTo>
                      <a:pt x="101" y="124"/>
                      <a:pt x="101" y="124"/>
                      <a:pt x="101" y="124"/>
                    </a:cubicBezTo>
                    <a:cubicBezTo>
                      <a:pt x="101" y="111"/>
                      <a:pt x="100" y="99"/>
                      <a:pt x="100" y="87"/>
                    </a:cubicBezTo>
                    <a:cubicBezTo>
                      <a:pt x="100" y="81"/>
                      <a:pt x="100" y="74"/>
                      <a:pt x="98" y="69"/>
                    </a:cubicBezTo>
                    <a:cubicBezTo>
                      <a:pt x="97" y="64"/>
                      <a:pt x="93" y="59"/>
                      <a:pt x="87" y="59"/>
                    </a:cubicBezTo>
                    <a:cubicBezTo>
                      <a:pt x="87" y="59"/>
                      <a:pt x="87" y="59"/>
                      <a:pt x="86" y="59"/>
                    </a:cubicBezTo>
                    <a:cubicBezTo>
                      <a:pt x="86" y="59"/>
                      <a:pt x="85" y="59"/>
                      <a:pt x="85" y="59"/>
                    </a:cubicBezTo>
                    <a:cubicBezTo>
                      <a:pt x="85" y="6"/>
                      <a:pt x="85" y="6"/>
                      <a:pt x="85" y="6"/>
                    </a:cubicBezTo>
                    <a:cubicBezTo>
                      <a:pt x="85" y="6"/>
                      <a:pt x="85" y="6"/>
                      <a:pt x="85" y="6"/>
                    </a:cubicBezTo>
                    <a:cubicBezTo>
                      <a:pt x="84" y="3"/>
                      <a:pt x="82" y="0"/>
                      <a:pt x="78" y="0"/>
                    </a:cubicBezTo>
                  </a:path>
                </a:pathLst>
              </a:custGeom>
              <a:solidFill>
                <a:schemeClr val="bg1"/>
              </a:solidFill>
              <a:ln w="9525">
                <a:noFill/>
                <a:round/>
                <a:headEnd/>
                <a:tailEnd/>
              </a:ln>
            </p:spPr>
            <p:txBody>
              <a:bodyPr/>
              <a:lstStyle/>
              <a:p>
                <a:pPr defTabSz="913486">
                  <a:defRPr/>
                </a:pPr>
                <a:endParaRPr lang="en-US" sz="1798" u="sng" kern="0">
                  <a:solidFill>
                    <a:srgbClr val="233746"/>
                  </a:solidFill>
                </a:endParaRPr>
              </a:p>
            </p:txBody>
          </p:sp>
        </p:grpSp>
      </p:grpSp>
      <p:grpSp>
        <p:nvGrpSpPr>
          <p:cNvPr id="3" name="Gruppieren 2">
            <a:extLst>
              <a:ext uri="{FF2B5EF4-FFF2-40B4-BE49-F238E27FC236}">
                <a16:creationId xmlns:a16="http://schemas.microsoft.com/office/drawing/2014/main" id="{1679BFF6-C7A4-4A26-81EC-B29B7FE8AD07}"/>
              </a:ext>
            </a:extLst>
          </p:cNvPr>
          <p:cNvGrpSpPr/>
          <p:nvPr/>
        </p:nvGrpSpPr>
        <p:grpSpPr>
          <a:xfrm>
            <a:off x="410400" y="1740601"/>
            <a:ext cx="11376788" cy="62415"/>
            <a:chOff x="410400" y="1740601"/>
            <a:chExt cx="11376788" cy="62415"/>
          </a:xfrm>
        </p:grpSpPr>
        <p:cxnSp>
          <p:nvCxnSpPr>
            <p:cNvPr id="90" name="Gerader Verbinder 89">
              <a:extLst>
                <a:ext uri="{FF2B5EF4-FFF2-40B4-BE49-F238E27FC236}">
                  <a16:creationId xmlns:a16="http://schemas.microsoft.com/office/drawing/2014/main" id="{FE62F85E-FBD8-6C3E-44B6-8A8AD2E283A0}"/>
                </a:ext>
              </a:extLst>
            </p:cNvPr>
            <p:cNvCxnSpPr>
              <a:cxnSpLocks/>
            </p:cNvCxnSpPr>
            <p:nvPr/>
          </p:nvCxnSpPr>
          <p:spPr>
            <a:xfrm>
              <a:off x="410400" y="1803016"/>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73" name="Gerader Verbinder 372">
              <a:extLst>
                <a:ext uri="{FF2B5EF4-FFF2-40B4-BE49-F238E27FC236}">
                  <a16:creationId xmlns:a16="http://schemas.microsoft.com/office/drawing/2014/main" id="{BF779091-D71D-4667-AEF9-3A3DFD4495FF}"/>
                </a:ext>
              </a:extLst>
            </p:cNvPr>
            <p:cNvCxnSpPr>
              <a:cxnSpLocks/>
            </p:cNvCxnSpPr>
            <p:nvPr/>
          </p:nvCxnSpPr>
          <p:spPr>
            <a:xfrm>
              <a:off x="410400" y="1740601"/>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74" name="Gruppieren 373">
            <a:extLst>
              <a:ext uri="{FF2B5EF4-FFF2-40B4-BE49-F238E27FC236}">
                <a16:creationId xmlns:a16="http://schemas.microsoft.com/office/drawing/2014/main" id="{FAAA03A4-EB86-4D94-9DA2-06BDD6947878}"/>
              </a:ext>
            </a:extLst>
          </p:cNvPr>
          <p:cNvGrpSpPr/>
          <p:nvPr/>
        </p:nvGrpSpPr>
        <p:grpSpPr>
          <a:xfrm>
            <a:off x="410400" y="3055872"/>
            <a:ext cx="11376788" cy="62415"/>
            <a:chOff x="410400" y="1740601"/>
            <a:chExt cx="11376788" cy="62415"/>
          </a:xfrm>
        </p:grpSpPr>
        <p:cxnSp>
          <p:nvCxnSpPr>
            <p:cNvPr id="375" name="Gerader Verbinder 374">
              <a:extLst>
                <a:ext uri="{FF2B5EF4-FFF2-40B4-BE49-F238E27FC236}">
                  <a16:creationId xmlns:a16="http://schemas.microsoft.com/office/drawing/2014/main" id="{F33D86EF-0294-47D9-84B8-562CE072B1A0}"/>
                </a:ext>
              </a:extLst>
            </p:cNvPr>
            <p:cNvCxnSpPr>
              <a:cxnSpLocks/>
            </p:cNvCxnSpPr>
            <p:nvPr/>
          </p:nvCxnSpPr>
          <p:spPr>
            <a:xfrm>
              <a:off x="410400" y="1803016"/>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76" name="Gerader Verbinder 375">
              <a:extLst>
                <a:ext uri="{FF2B5EF4-FFF2-40B4-BE49-F238E27FC236}">
                  <a16:creationId xmlns:a16="http://schemas.microsoft.com/office/drawing/2014/main" id="{A81A5119-48BB-4420-B32F-820DBD0F5D8C}"/>
                </a:ext>
              </a:extLst>
            </p:cNvPr>
            <p:cNvCxnSpPr>
              <a:cxnSpLocks/>
            </p:cNvCxnSpPr>
            <p:nvPr/>
          </p:nvCxnSpPr>
          <p:spPr>
            <a:xfrm>
              <a:off x="410400" y="1740601"/>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pSp>
        <p:nvGrpSpPr>
          <p:cNvPr id="377" name="Gruppieren 376">
            <a:extLst>
              <a:ext uri="{FF2B5EF4-FFF2-40B4-BE49-F238E27FC236}">
                <a16:creationId xmlns:a16="http://schemas.microsoft.com/office/drawing/2014/main" id="{08AE691F-0D56-4949-876E-0A9633B76E1E}"/>
              </a:ext>
            </a:extLst>
          </p:cNvPr>
          <p:cNvGrpSpPr/>
          <p:nvPr/>
        </p:nvGrpSpPr>
        <p:grpSpPr>
          <a:xfrm>
            <a:off x="410400" y="4415548"/>
            <a:ext cx="11376788" cy="62415"/>
            <a:chOff x="410400" y="1740601"/>
            <a:chExt cx="11376788" cy="62415"/>
          </a:xfrm>
        </p:grpSpPr>
        <p:cxnSp>
          <p:nvCxnSpPr>
            <p:cNvPr id="378" name="Gerader Verbinder 377">
              <a:extLst>
                <a:ext uri="{FF2B5EF4-FFF2-40B4-BE49-F238E27FC236}">
                  <a16:creationId xmlns:a16="http://schemas.microsoft.com/office/drawing/2014/main" id="{1E7B22F4-B844-45D4-9A0B-7337CBAF9CC4}"/>
                </a:ext>
              </a:extLst>
            </p:cNvPr>
            <p:cNvCxnSpPr>
              <a:cxnSpLocks/>
            </p:cNvCxnSpPr>
            <p:nvPr/>
          </p:nvCxnSpPr>
          <p:spPr>
            <a:xfrm>
              <a:off x="410400" y="1803016"/>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79" name="Gerader Verbinder 378">
              <a:extLst>
                <a:ext uri="{FF2B5EF4-FFF2-40B4-BE49-F238E27FC236}">
                  <a16:creationId xmlns:a16="http://schemas.microsoft.com/office/drawing/2014/main" id="{AD92A65F-B949-4B11-A047-213782FCABBF}"/>
                </a:ext>
              </a:extLst>
            </p:cNvPr>
            <p:cNvCxnSpPr>
              <a:cxnSpLocks/>
            </p:cNvCxnSpPr>
            <p:nvPr/>
          </p:nvCxnSpPr>
          <p:spPr>
            <a:xfrm>
              <a:off x="410400" y="1740601"/>
              <a:ext cx="11376788" cy="0"/>
            </a:xfrm>
            <a:prstGeom prst="line">
              <a:avLst/>
            </a:prstGeom>
            <a:ln w="9525">
              <a:solidFill>
                <a:srgbClr val="66667E"/>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94" name="Rectangle 182">
            <a:extLst>
              <a:ext uri="{FF2B5EF4-FFF2-40B4-BE49-F238E27FC236}">
                <a16:creationId xmlns:a16="http://schemas.microsoft.com/office/drawing/2014/main" id="{09F3CE55-D57C-2AC9-E04A-D866FD7E0C4A}"/>
              </a:ext>
            </a:extLst>
          </p:cNvPr>
          <p:cNvSpPr>
            <a:spLocks/>
          </p:cNvSpPr>
          <p:nvPr/>
        </p:nvSpPr>
        <p:spPr bwMode="auto">
          <a:xfrm>
            <a:off x="9884509" y="1679510"/>
            <a:ext cx="2307490" cy="4127566"/>
          </a:xfrm>
          <a:prstGeom prst="rect">
            <a:avLst/>
          </a:prstGeom>
          <a:solidFill>
            <a:schemeClr val="accent2"/>
          </a:solidFill>
          <a:ln w="9525" cap="flat" cmpd="sng" algn="ctr">
            <a:noFill/>
            <a:prstDash val="solid"/>
            <a:miter lim="800000"/>
            <a:headEnd type="none" w="med" len="med"/>
            <a:tailEnd type="none" w="med" len="med"/>
          </a:ln>
          <a:effectLst/>
        </p:spPr>
        <p:txBody>
          <a:bodyPr wrap="square" lIns="180000" tIns="360000" rIns="360000" bIns="54000" numCol="1" spcCol="72000" rtlCol="0" anchor="ctr">
            <a:noAutofit/>
          </a:bodyPr>
          <a:lstStyle/>
          <a:p>
            <a:pPr defTabSz="913486">
              <a:lnSpc>
                <a:spcPct val="110000"/>
              </a:lnSpc>
              <a:spcBef>
                <a:spcPct val="0"/>
              </a:spcBef>
            </a:pPr>
            <a:r>
              <a:rPr lang="en-US" sz="1400">
                <a:solidFill>
                  <a:schemeClr val="bg1"/>
                </a:solidFill>
                <a:ea typeface="Arial Unicode MS" panose="020B0604020202020204" pitchFamily="34" charset="-128"/>
                <a:cs typeface="Arial" panose="020B0604020202020204" pitchFamily="34" charset="0"/>
              </a:rPr>
              <a:t>All three </a:t>
            </a:r>
            <a:r>
              <a:rPr lang="en-US" sz="1400" b="1">
                <a:solidFill>
                  <a:schemeClr val="bg1"/>
                </a:solidFill>
                <a:ea typeface="Arial Unicode MS" panose="020B0604020202020204" pitchFamily="34" charset="-128"/>
                <a:cs typeface="Arial" panose="020B0604020202020204" pitchFamily="34" charset="0"/>
              </a:rPr>
              <a:t>drive train technologies and their business cases </a:t>
            </a:r>
            <a:r>
              <a:rPr lang="en-US" sz="1400">
                <a:solidFill>
                  <a:schemeClr val="bg1"/>
                </a:solidFill>
                <a:ea typeface="Arial Unicode MS" panose="020B0604020202020204" pitchFamily="34" charset="-128"/>
                <a:cs typeface="Arial" panose="020B0604020202020204" pitchFamily="34" charset="0"/>
              </a:rPr>
              <a:t>can be </a:t>
            </a:r>
            <a:r>
              <a:rPr lang="en-US" sz="1400" b="1">
                <a:solidFill>
                  <a:schemeClr val="bg1"/>
                </a:solidFill>
                <a:ea typeface="Arial Unicode MS" panose="020B0604020202020204" pitchFamily="34" charset="-128"/>
                <a:cs typeface="Arial" panose="020B0604020202020204" pitchFamily="34" charset="0"/>
              </a:rPr>
              <a:t>“boosted” </a:t>
            </a:r>
            <a:r>
              <a:rPr lang="en-US" sz="1400">
                <a:solidFill>
                  <a:schemeClr val="bg1"/>
                </a:solidFill>
                <a:ea typeface="Arial Unicode MS" panose="020B0604020202020204" pitchFamily="34" charset="-128"/>
                <a:cs typeface="Arial" panose="020B0604020202020204" pitchFamily="34" charset="0"/>
              </a:rPr>
              <a:t>by charging infrastructure such as </a:t>
            </a:r>
            <a:r>
              <a:rPr lang="en-US" sz="1400" b="1">
                <a:solidFill>
                  <a:schemeClr val="bg1"/>
                </a:solidFill>
                <a:ea typeface="Arial Unicode MS" panose="020B0604020202020204" pitchFamily="34" charset="-128"/>
                <a:cs typeface="Arial" panose="020B0604020202020204" pitchFamily="34" charset="0"/>
              </a:rPr>
              <a:t>“Overhead Contact Lines” </a:t>
            </a:r>
            <a:r>
              <a:rPr lang="en-US" sz="1400">
                <a:solidFill>
                  <a:schemeClr val="bg1"/>
                </a:solidFill>
                <a:ea typeface="Arial Unicode MS" panose="020B0604020202020204" pitchFamily="34" charset="-128"/>
                <a:cs typeface="Arial" panose="020B0604020202020204" pitchFamily="34" charset="0"/>
              </a:rPr>
              <a:t>(OCL) on major transit lines, similar to electric trains, reducing the cost </a:t>
            </a:r>
            <a:br>
              <a:rPr lang="en-US" sz="1400">
                <a:solidFill>
                  <a:schemeClr val="bg1"/>
                </a:solidFill>
                <a:ea typeface="Arial Unicode MS" panose="020B0604020202020204" pitchFamily="34" charset="-128"/>
                <a:cs typeface="Arial" panose="020B0604020202020204" pitchFamily="34" charset="0"/>
              </a:rPr>
            </a:br>
            <a:r>
              <a:rPr lang="en-US" sz="1400">
                <a:solidFill>
                  <a:schemeClr val="bg1"/>
                </a:solidFill>
                <a:ea typeface="Arial Unicode MS" panose="020B0604020202020204" pitchFamily="34" charset="-128"/>
                <a:cs typeface="Arial" panose="020B0604020202020204" pitchFamily="34" charset="0"/>
              </a:rPr>
              <a:t>per km.</a:t>
            </a:r>
          </a:p>
        </p:txBody>
      </p:sp>
      <p:grpSp>
        <p:nvGrpSpPr>
          <p:cNvPr id="193" name="Gruppieren 192">
            <a:extLst>
              <a:ext uri="{FF2B5EF4-FFF2-40B4-BE49-F238E27FC236}">
                <a16:creationId xmlns:a16="http://schemas.microsoft.com/office/drawing/2014/main" id="{2E9EF637-1F30-82FC-42DE-E2D9495BAC58}"/>
              </a:ext>
            </a:extLst>
          </p:cNvPr>
          <p:cNvGrpSpPr/>
          <p:nvPr/>
        </p:nvGrpSpPr>
        <p:grpSpPr>
          <a:xfrm>
            <a:off x="10910039" y="1435121"/>
            <a:ext cx="880896" cy="880896"/>
            <a:chOff x="11163643" y="2063032"/>
            <a:chExt cx="435146" cy="435146"/>
          </a:xfrm>
        </p:grpSpPr>
        <p:sp>
          <p:nvSpPr>
            <p:cNvPr id="194" name="Oval 181">
              <a:extLst>
                <a:ext uri="{FF2B5EF4-FFF2-40B4-BE49-F238E27FC236}">
                  <a16:creationId xmlns:a16="http://schemas.microsoft.com/office/drawing/2014/main" id="{13AB7EF8-410B-9436-07A3-D50CA7504654}"/>
                </a:ext>
              </a:extLst>
            </p:cNvPr>
            <p:cNvSpPr/>
            <p:nvPr/>
          </p:nvSpPr>
          <p:spPr bwMode="auto">
            <a:xfrm>
              <a:off x="11163643" y="2063032"/>
              <a:ext cx="435146" cy="435146"/>
            </a:xfrm>
            <a:prstGeom prst="ellipse">
              <a:avLst/>
            </a:prstGeom>
            <a:solidFill>
              <a:schemeClr val="bg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grpSp>
          <p:nvGrpSpPr>
            <p:cNvPr id="195" name="Group 261">
              <a:extLst>
                <a:ext uri="{FF2B5EF4-FFF2-40B4-BE49-F238E27FC236}">
                  <a16:creationId xmlns:a16="http://schemas.microsoft.com/office/drawing/2014/main" id="{2F530020-FB64-58E3-099B-77781C65F54C}"/>
                </a:ext>
              </a:extLst>
            </p:cNvPr>
            <p:cNvGrpSpPr/>
            <p:nvPr/>
          </p:nvGrpSpPr>
          <p:grpSpPr>
            <a:xfrm>
              <a:off x="11243773" y="2139063"/>
              <a:ext cx="302020" cy="298368"/>
              <a:chOff x="8840219" y="2466693"/>
              <a:chExt cx="2051848" cy="2027039"/>
            </a:xfrm>
            <a:solidFill>
              <a:schemeClr val="accent2"/>
            </a:solidFill>
          </p:grpSpPr>
          <p:sp>
            <p:nvSpPr>
              <p:cNvPr id="196" name="Freihandform: Form 118">
                <a:extLst>
                  <a:ext uri="{FF2B5EF4-FFF2-40B4-BE49-F238E27FC236}">
                    <a16:creationId xmlns:a16="http://schemas.microsoft.com/office/drawing/2014/main" id="{A0574AF2-58F6-001E-390F-480978E19945}"/>
                  </a:ext>
                </a:extLst>
              </p:cNvPr>
              <p:cNvSpPr/>
              <p:nvPr/>
            </p:nvSpPr>
            <p:spPr bwMode="auto">
              <a:xfrm>
                <a:off x="9651749" y="3419482"/>
                <a:ext cx="759618" cy="664369"/>
              </a:xfrm>
              <a:custGeom>
                <a:avLst/>
                <a:gdLst>
                  <a:gd name="connsiteX0" fmla="*/ 719138 w 759619"/>
                  <a:gd name="connsiteY0" fmla="*/ 0 h 664369"/>
                  <a:gd name="connsiteX1" fmla="*/ 0 w 759619"/>
                  <a:gd name="connsiteY1" fmla="*/ 664369 h 664369"/>
                  <a:gd name="connsiteX2" fmla="*/ 111919 w 759619"/>
                  <a:gd name="connsiteY2" fmla="*/ 664369 h 664369"/>
                  <a:gd name="connsiteX3" fmla="*/ 759619 w 759619"/>
                  <a:gd name="connsiteY3" fmla="*/ 35719 h 664369"/>
                  <a:gd name="connsiteX4" fmla="*/ 719138 w 759619"/>
                  <a:gd name="connsiteY4" fmla="*/ 0 h 66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9619" h="664369">
                    <a:moveTo>
                      <a:pt x="719138" y="0"/>
                    </a:moveTo>
                    <a:lnTo>
                      <a:pt x="0" y="664369"/>
                    </a:lnTo>
                    <a:lnTo>
                      <a:pt x="111919" y="664369"/>
                    </a:lnTo>
                    <a:lnTo>
                      <a:pt x="759619" y="35719"/>
                    </a:lnTo>
                    <a:lnTo>
                      <a:pt x="719138" y="0"/>
                    </a:lnTo>
                    <a:close/>
                  </a:path>
                </a:pathLst>
              </a:cu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197" name="Rechteck: abgerundete Ecken 69">
                <a:extLst>
                  <a:ext uri="{FF2B5EF4-FFF2-40B4-BE49-F238E27FC236}">
                    <a16:creationId xmlns:a16="http://schemas.microsoft.com/office/drawing/2014/main" id="{8FD4EABC-803D-FF35-D1B8-349A849D7F13}"/>
                  </a:ext>
                </a:extLst>
              </p:cNvPr>
              <p:cNvSpPr/>
              <p:nvPr/>
            </p:nvSpPr>
            <p:spPr bwMode="auto">
              <a:xfrm>
                <a:off x="10352316" y="3169705"/>
                <a:ext cx="107949" cy="297453"/>
              </a:xfrm>
              <a:prstGeom prst="roundRect">
                <a:avLst>
                  <a:gd name="adj" fmla="val 50000"/>
                </a:avLst>
              </a:pr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grpSp>
            <p:nvGrpSpPr>
              <p:cNvPr id="198" name="Gruppieren 143">
                <a:extLst>
                  <a:ext uri="{FF2B5EF4-FFF2-40B4-BE49-F238E27FC236}">
                    <a16:creationId xmlns:a16="http://schemas.microsoft.com/office/drawing/2014/main" id="{68AB1361-20CD-F61E-8CC4-BEF15D827864}"/>
                  </a:ext>
                </a:extLst>
              </p:cNvPr>
              <p:cNvGrpSpPr/>
              <p:nvPr/>
            </p:nvGrpSpPr>
            <p:grpSpPr>
              <a:xfrm>
                <a:off x="10383555" y="3200028"/>
                <a:ext cx="45722" cy="45722"/>
                <a:chOff x="5981516" y="3097167"/>
                <a:chExt cx="60938" cy="60938"/>
              </a:xfrm>
              <a:grpFill/>
            </p:grpSpPr>
            <p:sp>
              <p:nvSpPr>
                <p:cNvPr id="248" name="Freihandform: Form 144">
                  <a:extLst>
                    <a:ext uri="{FF2B5EF4-FFF2-40B4-BE49-F238E27FC236}">
                      <a16:creationId xmlns:a16="http://schemas.microsoft.com/office/drawing/2014/main" id="{C5CE8975-B612-5E48-A55B-F282AD9F9369}"/>
                    </a:ext>
                  </a:extLst>
                </p:cNvPr>
                <p:cNvSpPr/>
                <p:nvPr/>
              </p:nvSpPr>
              <p:spPr>
                <a:xfrm rot="18473561" flipH="1" flipV="1">
                  <a:off x="5981516" y="3097167"/>
                  <a:ext cx="60938" cy="60938"/>
                </a:xfrm>
                <a:custGeom>
                  <a:avLst/>
                  <a:gdLst>
                    <a:gd name="connsiteX0" fmla="*/ 115164 w 128594"/>
                    <a:gd name="connsiteY0" fmla="*/ 102874 h 128594"/>
                    <a:gd name="connsiteX1" fmla="*/ 25093 w 128594"/>
                    <a:gd name="connsiteY1" fmla="*/ 115305 h 128594"/>
                    <a:gd name="connsiteX2" fmla="*/ 12662 w 128594"/>
                    <a:gd name="connsiteY2" fmla="*/ 25234 h 128594"/>
                    <a:gd name="connsiteX3" fmla="*/ 102687 w 128594"/>
                    <a:gd name="connsiteY3" fmla="*/ 12767 h 128594"/>
                    <a:gd name="connsiteX4" fmla="*/ 115200 w 128594"/>
                    <a:gd name="connsiteY4" fmla="*/ 102827 h 128594"/>
                    <a:gd name="connsiteX5" fmla="*/ 115164 w 128594"/>
                    <a:gd name="connsiteY5" fmla="*/ 102874 h 1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594" h="128594">
                      <a:moveTo>
                        <a:pt x="115164" y="102874"/>
                      </a:moveTo>
                      <a:cubicBezTo>
                        <a:pt x="93724" y="131179"/>
                        <a:pt x="53398" y="136745"/>
                        <a:pt x="25093" y="115305"/>
                      </a:cubicBezTo>
                      <a:cubicBezTo>
                        <a:pt x="-3212" y="93865"/>
                        <a:pt x="-8778" y="53539"/>
                        <a:pt x="12662" y="25234"/>
                      </a:cubicBezTo>
                      <a:cubicBezTo>
                        <a:pt x="34088" y="-3053"/>
                        <a:pt x="74380" y="-8633"/>
                        <a:pt x="102687" y="12767"/>
                      </a:cubicBezTo>
                      <a:cubicBezTo>
                        <a:pt x="131012" y="34181"/>
                        <a:pt x="136614" y="74502"/>
                        <a:pt x="115200" y="102827"/>
                      </a:cubicBezTo>
                      <a:cubicBezTo>
                        <a:pt x="115188" y="102843"/>
                        <a:pt x="115176" y="102858"/>
                        <a:pt x="115164" y="102874"/>
                      </a:cubicBezTo>
                      <a:close/>
                    </a:path>
                  </a:pathLst>
                </a:custGeom>
                <a:grpFill/>
                <a:ln w="9525" cap="flat">
                  <a:noFill/>
                  <a:prstDash val="solid"/>
                  <a:miter/>
                </a:ln>
              </p:spPr>
              <p:txBody>
                <a:bodyPr rtlCol="0" anchor="ctr"/>
                <a:lstStyle/>
                <a:p>
                  <a:pPr defTabSz="913486"/>
                  <a:endParaRPr lang="en-US" sz="1798" u="sng">
                    <a:solidFill>
                      <a:srgbClr val="FFFFFF"/>
                    </a:solidFill>
                  </a:endParaRPr>
                </a:p>
              </p:txBody>
            </p:sp>
            <p:sp>
              <p:nvSpPr>
                <p:cNvPr id="249" name="Freihandform: Form 145">
                  <a:extLst>
                    <a:ext uri="{FF2B5EF4-FFF2-40B4-BE49-F238E27FC236}">
                      <a16:creationId xmlns:a16="http://schemas.microsoft.com/office/drawing/2014/main" id="{C5CE205E-A461-85E8-F696-5B6C4C9CDAF9}"/>
                    </a:ext>
                  </a:extLst>
                </p:cNvPr>
                <p:cNvSpPr/>
                <p:nvPr/>
              </p:nvSpPr>
              <p:spPr>
                <a:xfrm rot="18473561" flipH="1" flipV="1">
                  <a:off x="5993785" y="3109227"/>
                  <a:ext cx="36112" cy="36111"/>
                </a:xfrm>
                <a:custGeom>
                  <a:avLst/>
                  <a:gdLst>
                    <a:gd name="connsiteX0" fmla="*/ 68037 w 76204"/>
                    <a:gd name="connsiteY0" fmla="*/ 60931 h 76203"/>
                    <a:gd name="connsiteX1" fmla="*/ 14645 w 76204"/>
                    <a:gd name="connsiteY1" fmla="*/ 68178 h 76203"/>
                    <a:gd name="connsiteX2" fmla="*/ 7398 w 76204"/>
                    <a:gd name="connsiteY2" fmla="*/ 14786 h 76203"/>
                    <a:gd name="connsiteX3" fmla="*/ 60607 w 76204"/>
                    <a:gd name="connsiteY3" fmla="*/ 7401 h 76203"/>
                    <a:gd name="connsiteX4" fmla="*/ 68175 w 76204"/>
                    <a:gd name="connsiteY4" fmla="*/ 60748 h 76203"/>
                    <a:gd name="connsiteX5" fmla="*/ 68037 w 76204"/>
                    <a:gd name="connsiteY5" fmla="*/ 60931 h 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204" h="76203">
                      <a:moveTo>
                        <a:pt x="68037" y="60931"/>
                      </a:moveTo>
                      <a:cubicBezTo>
                        <a:pt x="55294" y="77676"/>
                        <a:pt x="31390" y="80920"/>
                        <a:pt x="14645" y="68178"/>
                      </a:cubicBezTo>
                      <a:cubicBezTo>
                        <a:pt x="-2100" y="55435"/>
                        <a:pt x="-5344" y="31531"/>
                        <a:pt x="7398" y="14786"/>
                      </a:cubicBezTo>
                      <a:cubicBezTo>
                        <a:pt x="20087" y="-1888"/>
                        <a:pt x="43858" y="-5187"/>
                        <a:pt x="60607" y="7401"/>
                      </a:cubicBezTo>
                      <a:cubicBezTo>
                        <a:pt x="77428" y="20042"/>
                        <a:pt x="80817" y="43927"/>
                        <a:pt x="68175" y="60748"/>
                      </a:cubicBezTo>
                      <a:cubicBezTo>
                        <a:pt x="68129" y="60809"/>
                        <a:pt x="68083" y="60870"/>
                        <a:pt x="68037" y="60931"/>
                      </a:cubicBezTo>
                      <a:close/>
                    </a:path>
                  </a:pathLst>
                </a:custGeom>
                <a:grpFill/>
                <a:ln w="9525" cap="flat">
                  <a:noFill/>
                  <a:prstDash val="solid"/>
                  <a:miter/>
                </a:ln>
              </p:spPr>
              <p:txBody>
                <a:bodyPr rtlCol="0" anchor="ctr"/>
                <a:lstStyle/>
                <a:p>
                  <a:pPr defTabSz="913486"/>
                  <a:endParaRPr lang="en-US" sz="1798" u="sng">
                    <a:solidFill>
                      <a:srgbClr val="FFFFFF"/>
                    </a:solidFill>
                  </a:endParaRPr>
                </a:p>
              </p:txBody>
            </p:sp>
          </p:grpSp>
          <p:sp>
            <p:nvSpPr>
              <p:cNvPr id="199" name="Rechteck 70">
                <a:extLst>
                  <a:ext uri="{FF2B5EF4-FFF2-40B4-BE49-F238E27FC236}">
                    <a16:creationId xmlns:a16="http://schemas.microsoft.com/office/drawing/2014/main" id="{9804441B-B266-4425-C030-0C8F15A7FAD3}"/>
                  </a:ext>
                </a:extLst>
              </p:cNvPr>
              <p:cNvSpPr/>
              <p:nvPr/>
            </p:nvSpPr>
            <p:spPr bwMode="auto">
              <a:xfrm rot="16200000">
                <a:off x="10154885" y="2561218"/>
                <a:ext cx="63869" cy="764383"/>
              </a:xfrm>
              <a:prstGeom prst="rect">
                <a:avLst/>
              </a:pr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00" name="Freihandform: Form 113">
                <a:extLst>
                  <a:ext uri="{FF2B5EF4-FFF2-40B4-BE49-F238E27FC236}">
                    <a16:creationId xmlns:a16="http://schemas.microsoft.com/office/drawing/2014/main" id="{C1A9BE9B-0367-23AE-2BD3-EC5BDF0432DA}"/>
                  </a:ext>
                </a:extLst>
              </p:cNvPr>
              <p:cNvSpPr/>
              <p:nvPr/>
            </p:nvSpPr>
            <p:spPr bwMode="auto">
              <a:xfrm>
                <a:off x="9150553" y="2533650"/>
                <a:ext cx="1092226" cy="804507"/>
              </a:xfrm>
              <a:custGeom>
                <a:avLst/>
                <a:gdLst>
                  <a:gd name="connsiteX0" fmla="*/ 80963 w 823913"/>
                  <a:gd name="connsiteY0" fmla="*/ 0 h 600075"/>
                  <a:gd name="connsiteX1" fmla="*/ 823913 w 823913"/>
                  <a:gd name="connsiteY1" fmla="*/ 552450 h 600075"/>
                  <a:gd name="connsiteX2" fmla="*/ 759619 w 823913"/>
                  <a:gd name="connsiteY2" fmla="*/ 600075 h 600075"/>
                  <a:gd name="connsiteX3" fmla="*/ 0 w 823913"/>
                  <a:gd name="connsiteY3" fmla="*/ 19050 h 600075"/>
                  <a:gd name="connsiteX4" fmla="*/ 80963 w 823913"/>
                  <a:gd name="connsiteY4" fmla="*/ 0 h 600075"/>
                  <a:gd name="connsiteX0" fmla="*/ 80963 w 973932"/>
                  <a:gd name="connsiteY0" fmla="*/ 0 h 659606"/>
                  <a:gd name="connsiteX1" fmla="*/ 973932 w 973932"/>
                  <a:gd name="connsiteY1" fmla="*/ 659606 h 659606"/>
                  <a:gd name="connsiteX2" fmla="*/ 759619 w 973932"/>
                  <a:gd name="connsiteY2" fmla="*/ 600075 h 659606"/>
                  <a:gd name="connsiteX3" fmla="*/ 0 w 973932"/>
                  <a:gd name="connsiteY3" fmla="*/ 19050 h 659606"/>
                  <a:gd name="connsiteX4" fmla="*/ 80963 w 973932"/>
                  <a:gd name="connsiteY4" fmla="*/ 0 h 659606"/>
                  <a:gd name="connsiteX0" fmla="*/ 80963 w 973932"/>
                  <a:gd name="connsiteY0" fmla="*/ 0 h 776287"/>
                  <a:gd name="connsiteX1" fmla="*/ 973932 w 973932"/>
                  <a:gd name="connsiteY1" fmla="*/ 659606 h 776287"/>
                  <a:gd name="connsiteX2" fmla="*/ 971551 w 973932"/>
                  <a:gd name="connsiteY2" fmla="*/ 776287 h 776287"/>
                  <a:gd name="connsiteX3" fmla="*/ 0 w 973932"/>
                  <a:gd name="connsiteY3" fmla="*/ 19050 h 776287"/>
                  <a:gd name="connsiteX4" fmla="*/ 80963 w 973932"/>
                  <a:gd name="connsiteY4" fmla="*/ 0 h 776287"/>
                  <a:gd name="connsiteX0" fmla="*/ 105624 w 998593"/>
                  <a:gd name="connsiteY0" fmla="*/ 0 h 776287"/>
                  <a:gd name="connsiteX1" fmla="*/ 998593 w 998593"/>
                  <a:gd name="connsiteY1" fmla="*/ 659606 h 776287"/>
                  <a:gd name="connsiteX2" fmla="*/ 996212 w 998593"/>
                  <a:gd name="connsiteY2" fmla="*/ 776287 h 776287"/>
                  <a:gd name="connsiteX3" fmla="*/ 0 w 998593"/>
                  <a:gd name="connsiteY3" fmla="*/ 38100 h 776287"/>
                  <a:gd name="connsiteX4" fmla="*/ 105624 w 998593"/>
                  <a:gd name="connsiteY4" fmla="*/ 0 h 77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593" h="776287">
                    <a:moveTo>
                      <a:pt x="105624" y="0"/>
                    </a:moveTo>
                    <a:lnTo>
                      <a:pt x="998593" y="659606"/>
                    </a:lnTo>
                    <a:cubicBezTo>
                      <a:pt x="997799" y="698500"/>
                      <a:pt x="997006" y="737393"/>
                      <a:pt x="996212" y="776287"/>
                    </a:cubicBezTo>
                    <a:lnTo>
                      <a:pt x="0" y="38100"/>
                    </a:lnTo>
                    <a:lnTo>
                      <a:pt x="105624" y="0"/>
                    </a:lnTo>
                    <a:close/>
                  </a:path>
                </a:pathLst>
              </a:custGeom>
              <a:grp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01" name="Freihandform: Form 27">
                <a:extLst>
                  <a:ext uri="{FF2B5EF4-FFF2-40B4-BE49-F238E27FC236}">
                    <a16:creationId xmlns:a16="http://schemas.microsoft.com/office/drawing/2014/main" id="{61B3A5EE-0476-5DB4-C59F-18116FB3EB39}"/>
                  </a:ext>
                </a:extLst>
              </p:cNvPr>
              <p:cNvSpPr/>
              <p:nvPr/>
            </p:nvSpPr>
            <p:spPr bwMode="auto">
              <a:xfrm>
                <a:off x="9294600" y="3221874"/>
                <a:ext cx="1099346" cy="878685"/>
              </a:xfrm>
              <a:custGeom>
                <a:avLst/>
                <a:gdLst>
                  <a:gd name="connsiteX0" fmla="*/ 866775 w 995362"/>
                  <a:gd name="connsiteY0" fmla="*/ 0 h 819150"/>
                  <a:gd name="connsiteX1" fmla="*/ 0 w 995362"/>
                  <a:gd name="connsiteY1" fmla="*/ 819150 h 819150"/>
                  <a:gd name="connsiteX2" fmla="*/ 276225 w 995362"/>
                  <a:gd name="connsiteY2" fmla="*/ 819150 h 819150"/>
                  <a:gd name="connsiteX3" fmla="*/ 995362 w 995362"/>
                  <a:gd name="connsiteY3" fmla="*/ 100013 h 819150"/>
                  <a:gd name="connsiteX4" fmla="*/ 866775 w 995362"/>
                  <a:gd name="connsiteY4" fmla="*/ 0 h 819150"/>
                  <a:gd name="connsiteX0" fmla="*/ 866775 w 1077912"/>
                  <a:gd name="connsiteY0" fmla="*/ 0 h 819150"/>
                  <a:gd name="connsiteX1" fmla="*/ 0 w 1077912"/>
                  <a:gd name="connsiteY1" fmla="*/ 819150 h 819150"/>
                  <a:gd name="connsiteX2" fmla="*/ 276225 w 1077912"/>
                  <a:gd name="connsiteY2" fmla="*/ 819150 h 819150"/>
                  <a:gd name="connsiteX3" fmla="*/ 1077912 w 1077912"/>
                  <a:gd name="connsiteY3" fmla="*/ 20638 h 819150"/>
                  <a:gd name="connsiteX4" fmla="*/ 866775 w 1077912"/>
                  <a:gd name="connsiteY4" fmla="*/ 0 h 819150"/>
                  <a:gd name="connsiteX0" fmla="*/ 866775 w 1099343"/>
                  <a:gd name="connsiteY0" fmla="*/ 17462 h 836612"/>
                  <a:gd name="connsiteX1" fmla="*/ 0 w 1099343"/>
                  <a:gd name="connsiteY1" fmla="*/ 836612 h 836612"/>
                  <a:gd name="connsiteX2" fmla="*/ 276225 w 1099343"/>
                  <a:gd name="connsiteY2" fmla="*/ 836612 h 836612"/>
                  <a:gd name="connsiteX3" fmla="*/ 1099343 w 1099343"/>
                  <a:gd name="connsiteY3" fmla="*/ 0 h 836612"/>
                  <a:gd name="connsiteX4" fmla="*/ 866775 w 1099343"/>
                  <a:gd name="connsiteY4" fmla="*/ 17462 h 836612"/>
                  <a:gd name="connsiteX0" fmla="*/ 866775 w 1023143"/>
                  <a:gd name="connsiteY0" fmla="*/ 0 h 819150"/>
                  <a:gd name="connsiteX1" fmla="*/ 0 w 1023143"/>
                  <a:gd name="connsiteY1" fmla="*/ 819150 h 819150"/>
                  <a:gd name="connsiteX2" fmla="*/ 276225 w 1023143"/>
                  <a:gd name="connsiteY2" fmla="*/ 819150 h 819150"/>
                  <a:gd name="connsiteX3" fmla="*/ 1023143 w 1023143"/>
                  <a:gd name="connsiteY3" fmla="*/ 51594 h 819150"/>
                  <a:gd name="connsiteX4" fmla="*/ 866775 w 1023143"/>
                  <a:gd name="connsiteY4" fmla="*/ 0 h 819150"/>
                  <a:gd name="connsiteX0" fmla="*/ 866775 w 1023143"/>
                  <a:gd name="connsiteY0" fmla="*/ 0 h 826294"/>
                  <a:gd name="connsiteX1" fmla="*/ 0 w 1023143"/>
                  <a:gd name="connsiteY1" fmla="*/ 819150 h 826294"/>
                  <a:gd name="connsiteX2" fmla="*/ 202407 w 1023143"/>
                  <a:gd name="connsiteY2" fmla="*/ 826294 h 826294"/>
                  <a:gd name="connsiteX3" fmla="*/ 1023143 w 1023143"/>
                  <a:gd name="connsiteY3" fmla="*/ 51594 h 826294"/>
                  <a:gd name="connsiteX4" fmla="*/ 866775 w 1023143"/>
                  <a:gd name="connsiteY4" fmla="*/ 0 h 826294"/>
                  <a:gd name="connsiteX0" fmla="*/ 866775 w 1011237"/>
                  <a:gd name="connsiteY0" fmla="*/ 0 h 826294"/>
                  <a:gd name="connsiteX1" fmla="*/ 0 w 1011237"/>
                  <a:gd name="connsiteY1" fmla="*/ 819150 h 826294"/>
                  <a:gd name="connsiteX2" fmla="*/ 202407 w 1011237"/>
                  <a:gd name="connsiteY2" fmla="*/ 826294 h 826294"/>
                  <a:gd name="connsiteX3" fmla="*/ 1011237 w 1011237"/>
                  <a:gd name="connsiteY3" fmla="*/ 51594 h 826294"/>
                  <a:gd name="connsiteX4" fmla="*/ 866775 w 1011237"/>
                  <a:gd name="connsiteY4" fmla="*/ 0 h 826294"/>
                  <a:gd name="connsiteX0" fmla="*/ 866775 w 1080293"/>
                  <a:gd name="connsiteY0" fmla="*/ 15081 h 841375"/>
                  <a:gd name="connsiteX1" fmla="*/ 0 w 1080293"/>
                  <a:gd name="connsiteY1" fmla="*/ 834231 h 841375"/>
                  <a:gd name="connsiteX2" fmla="*/ 202407 w 1080293"/>
                  <a:gd name="connsiteY2" fmla="*/ 841375 h 841375"/>
                  <a:gd name="connsiteX3" fmla="*/ 1080293 w 1080293"/>
                  <a:gd name="connsiteY3" fmla="*/ 0 h 841375"/>
                  <a:gd name="connsiteX4" fmla="*/ 866775 w 1080293"/>
                  <a:gd name="connsiteY4" fmla="*/ 15081 h 841375"/>
                  <a:gd name="connsiteX0" fmla="*/ 926306 w 1080293"/>
                  <a:gd name="connsiteY0" fmla="*/ 0 h 878682"/>
                  <a:gd name="connsiteX1" fmla="*/ 0 w 1080293"/>
                  <a:gd name="connsiteY1" fmla="*/ 871538 h 878682"/>
                  <a:gd name="connsiteX2" fmla="*/ 202407 w 1080293"/>
                  <a:gd name="connsiteY2" fmla="*/ 878682 h 878682"/>
                  <a:gd name="connsiteX3" fmla="*/ 1080293 w 1080293"/>
                  <a:gd name="connsiteY3" fmla="*/ 37307 h 878682"/>
                  <a:gd name="connsiteX4" fmla="*/ 926306 w 1080293"/>
                  <a:gd name="connsiteY4" fmla="*/ 0 h 878682"/>
                  <a:gd name="connsiteX0" fmla="*/ 926306 w 1099343"/>
                  <a:gd name="connsiteY0" fmla="*/ 0 h 878682"/>
                  <a:gd name="connsiteX1" fmla="*/ 0 w 1099343"/>
                  <a:gd name="connsiteY1" fmla="*/ 871538 h 878682"/>
                  <a:gd name="connsiteX2" fmla="*/ 202407 w 1099343"/>
                  <a:gd name="connsiteY2" fmla="*/ 878682 h 878682"/>
                  <a:gd name="connsiteX3" fmla="*/ 1099343 w 1099343"/>
                  <a:gd name="connsiteY3" fmla="*/ 18257 h 878682"/>
                  <a:gd name="connsiteX4" fmla="*/ 926306 w 1099343"/>
                  <a:gd name="connsiteY4" fmla="*/ 0 h 878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9343" h="878682">
                    <a:moveTo>
                      <a:pt x="926306" y="0"/>
                    </a:moveTo>
                    <a:lnTo>
                      <a:pt x="0" y="871538"/>
                    </a:lnTo>
                    <a:lnTo>
                      <a:pt x="202407" y="878682"/>
                    </a:lnTo>
                    <a:lnTo>
                      <a:pt x="1099343" y="18257"/>
                    </a:lnTo>
                    <a:lnTo>
                      <a:pt x="926306" y="0"/>
                    </a:lnTo>
                    <a:close/>
                  </a:path>
                </a:pathLst>
              </a:cu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02" name="Rechteck 36">
                <a:extLst>
                  <a:ext uri="{FF2B5EF4-FFF2-40B4-BE49-F238E27FC236}">
                    <a16:creationId xmlns:a16="http://schemas.microsoft.com/office/drawing/2014/main" id="{548EEBD0-F9CE-464E-E347-F136624D2243}"/>
                  </a:ext>
                </a:extLst>
              </p:cNvPr>
              <p:cNvSpPr/>
              <p:nvPr/>
            </p:nvSpPr>
            <p:spPr bwMode="auto">
              <a:xfrm>
                <a:off x="10411374" y="2492374"/>
                <a:ext cx="170311" cy="761574"/>
              </a:xfrm>
              <a:prstGeom prst="rect">
                <a:avLst/>
              </a:pr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06" name="Rechteck 33">
                <a:extLst>
                  <a:ext uri="{FF2B5EF4-FFF2-40B4-BE49-F238E27FC236}">
                    <a16:creationId xmlns:a16="http://schemas.microsoft.com/office/drawing/2014/main" id="{4561B667-5140-C8CE-5827-F257883584C7}"/>
                  </a:ext>
                </a:extLst>
              </p:cNvPr>
              <p:cNvSpPr/>
              <p:nvPr/>
            </p:nvSpPr>
            <p:spPr bwMode="auto">
              <a:xfrm>
                <a:off x="9158229" y="2466693"/>
                <a:ext cx="1415781" cy="118943"/>
              </a:xfrm>
              <a:prstGeom prst="rect">
                <a:avLst/>
              </a:pr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1" name="Freihandform: Form 41">
                <a:extLst>
                  <a:ext uri="{FF2B5EF4-FFF2-40B4-BE49-F238E27FC236}">
                    <a16:creationId xmlns:a16="http://schemas.microsoft.com/office/drawing/2014/main" id="{EC6758D4-1D18-A6A4-C30A-C9EB43E6386A}"/>
                  </a:ext>
                </a:extLst>
              </p:cNvPr>
              <p:cNvSpPr/>
              <p:nvPr/>
            </p:nvSpPr>
            <p:spPr bwMode="auto">
              <a:xfrm>
                <a:off x="8976780" y="2535367"/>
                <a:ext cx="486061" cy="166559"/>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grp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2" name="Freihandform: Form 63">
                <a:extLst>
                  <a:ext uri="{FF2B5EF4-FFF2-40B4-BE49-F238E27FC236}">
                    <a16:creationId xmlns:a16="http://schemas.microsoft.com/office/drawing/2014/main" id="{C966E4DC-A4D0-B398-4577-4D40039AD1A6}"/>
                  </a:ext>
                </a:extLst>
              </p:cNvPr>
              <p:cNvSpPr/>
              <p:nvPr/>
            </p:nvSpPr>
            <p:spPr bwMode="auto">
              <a:xfrm>
                <a:off x="8840219" y="2466693"/>
                <a:ext cx="558740" cy="235233"/>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grp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3" name="Freihandform: Form 66">
                <a:extLst>
                  <a:ext uri="{FF2B5EF4-FFF2-40B4-BE49-F238E27FC236}">
                    <a16:creationId xmlns:a16="http://schemas.microsoft.com/office/drawing/2014/main" id="{8255C450-D718-4307-9512-C97F8D4D201D}"/>
                  </a:ext>
                </a:extLst>
              </p:cNvPr>
              <p:cNvSpPr/>
              <p:nvPr/>
            </p:nvSpPr>
            <p:spPr bwMode="auto">
              <a:xfrm flipH="1">
                <a:off x="10275796" y="2535367"/>
                <a:ext cx="486061" cy="166559"/>
              </a:xfrm>
              <a:custGeom>
                <a:avLst/>
                <a:gdLst>
                  <a:gd name="connsiteX0" fmla="*/ 871538 w 871538"/>
                  <a:gd name="connsiteY0" fmla="*/ 0 h 323850"/>
                  <a:gd name="connsiteX1" fmla="*/ 323850 w 871538"/>
                  <a:gd name="connsiteY1" fmla="*/ 0 h 323850"/>
                  <a:gd name="connsiteX2" fmla="*/ 0 w 871538"/>
                  <a:gd name="connsiteY2" fmla="*/ 323850 h 323850"/>
                  <a:gd name="connsiteX3" fmla="*/ 138113 w 871538"/>
                  <a:gd name="connsiteY3" fmla="*/ 323850 h 323850"/>
                  <a:gd name="connsiteX4" fmla="*/ 366713 w 871538"/>
                  <a:gd name="connsiteY4" fmla="*/ 95250 h 323850"/>
                  <a:gd name="connsiteX5" fmla="*/ 852488 w 871538"/>
                  <a:gd name="connsiteY5" fmla="*/ 95250 h 323850"/>
                  <a:gd name="connsiteX6" fmla="*/ 871538 w 871538"/>
                  <a:gd name="connsiteY6" fmla="*/ 0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1538" h="323850">
                    <a:moveTo>
                      <a:pt x="871538" y="0"/>
                    </a:moveTo>
                    <a:lnTo>
                      <a:pt x="323850" y="0"/>
                    </a:lnTo>
                    <a:lnTo>
                      <a:pt x="0" y="323850"/>
                    </a:lnTo>
                    <a:lnTo>
                      <a:pt x="138113" y="323850"/>
                    </a:lnTo>
                    <a:lnTo>
                      <a:pt x="366713" y="95250"/>
                    </a:lnTo>
                    <a:lnTo>
                      <a:pt x="852488" y="95250"/>
                    </a:lnTo>
                    <a:lnTo>
                      <a:pt x="871538" y="0"/>
                    </a:lnTo>
                    <a:close/>
                  </a:path>
                </a:pathLst>
              </a:custGeom>
              <a:grp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4" name="Freihandform: Form 67">
                <a:extLst>
                  <a:ext uri="{FF2B5EF4-FFF2-40B4-BE49-F238E27FC236}">
                    <a16:creationId xmlns:a16="http://schemas.microsoft.com/office/drawing/2014/main" id="{EF6B4BD4-F2D5-9B2A-C637-538560FED189}"/>
                  </a:ext>
                </a:extLst>
              </p:cNvPr>
              <p:cNvSpPr/>
              <p:nvPr/>
            </p:nvSpPr>
            <p:spPr bwMode="auto">
              <a:xfrm flipH="1">
                <a:off x="10333327" y="2466693"/>
                <a:ext cx="558740" cy="235233"/>
              </a:xfrm>
              <a:custGeom>
                <a:avLst/>
                <a:gdLst>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76199 w 585787"/>
                  <a:gd name="connsiteY9" fmla="*/ 189355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78071 w 585787"/>
                  <a:gd name="connsiteY8" fmla="*/ 189355 h 267426"/>
                  <a:gd name="connsiteX9" fmla="*/ 265554 w 585787"/>
                  <a:gd name="connsiteY9"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205816 w 585787"/>
                  <a:gd name="connsiteY5" fmla="*/ 142365 h 267426"/>
                  <a:gd name="connsiteX6" fmla="*/ 80755 w 585787"/>
                  <a:gd name="connsiteY6" fmla="*/ 267426 h 267426"/>
                  <a:gd name="connsiteX7" fmla="*/ 0 w 585787"/>
                  <a:gd name="connsiteY7" fmla="*/ 267426 h 267426"/>
                  <a:gd name="connsiteX8" fmla="*/ 265554 w 585787"/>
                  <a:gd name="connsiteY8"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203944 w 585787"/>
                  <a:gd name="connsiteY4" fmla="*/ 142365 h 267426"/>
                  <a:gd name="connsiteX5" fmla="*/ 80755 w 585787"/>
                  <a:gd name="connsiteY5" fmla="*/ 267426 h 267426"/>
                  <a:gd name="connsiteX6" fmla="*/ 0 w 585787"/>
                  <a:gd name="connsiteY6" fmla="*/ 267426 h 267426"/>
                  <a:gd name="connsiteX7" fmla="*/ 265554 w 585787"/>
                  <a:gd name="connsiteY7" fmla="*/ 0 h 267426"/>
                  <a:gd name="connsiteX0" fmla="*/ 265554 w 585787"/>
                  <a:gd name="connsiteY0" fmla="*/ 0 h 267426"/>
                  <a:gd name="connsiteX1" fmla="*/ 585787 w 585787"/>
                  <a:gd name="connsiteY1" fmla="*/ 0 h 267426"/>
                  <a:gd name="connsiteX2" fmla="*/ 574649 w 585787"/>
                  <a:gd name="connsiteY2" fmla="*/ 55693 h 267426"/>
                  <a:gd name="connsiteX3" fmla="*/ 290616 w 585787"/>
                  <a:gd name="connsiteY3" fmla="*/ 55693 h 267426"/>
                  <a:gd name="connsiteX4" fmla="*/ 80755 w 585787"/>
                  <a:gd name="connsiteY4" fmla="*/ 267426 h 267426"/>
                  <a:gd name="connsiteX5" fmla="*/ 0 w 585787"/>
                  <a:gd name="connsiteY5" fmla="*/ 267426 h 267426"/>
                  <a:gd name="connsiteX6" fmla="*/ 265554 w 585787"/>
                  <a:gd name="connsiteY6" fmla="*/ 0 h 26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5787" h="267426">
                    <a:moveTo>
                      <a:pt x="265554" y="0"/>
                    </a:moveTo>
                    <a:lnTo>
                      <a:pt x="585787" y="0"/>
                    </a:lnTo>
                    <a:lnTo>
                      <a:pt x="574649" y="55693"/>
                    </a:lnTo>
                    <a:lnTo>
                      <a:pt x="290616" y="55693"/>
                    </a:lnTo>
                    <a:lnTo>
                      <a:pt x="80755" y="267426"/>
                    </a:lnTo>
                    <a:lnTo>
                      <a:pt x="0" y="267426"/>
                    </a:lnTo>
                    <a:lnTo>
                      <a:pt x="265554" y="0"/>
                    </a:lnTo>
                    <a:close/>
                  </a:path>
                </a:pathLst>
              </a:custGeom>
              <a:grp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005F87"/>
                    </a:solidFill>
                    <a:prstDash val="solid"/>
                    <a:miter lim="800000"/>
                    <a:headEnd type="none" w="med" len="med"/>
                    <a:tailEnd type="none" w="med" len="med"/>
                  </a14:hiddenLine>
                </a:ext>
              </a:ex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5" name="Rechteck 68">
                <a:extLst>
                  <a:ext uri="{FF2B5EF4-FFF2-40B4-BE49-F238E27FC236}">
                    <a16:creationId xmlns:a16="http://schemas.microsoft.com/office/drawing/2014/main" id="{177F7CCB-8C11-D4FA-326F-1B1252FEEF65}"/>
                  </a:ext>
                </a:extLst>
              </p:cNvPr>
              <p:cNvSpPr/>
              <p:nvPr/>
            </p:nvSpPr>
            <p:spPr bwMode="auto">
              <a:xfrm rot="16200000">
                <a:off x="10304868" y="2977157"/>
                <a:ext cx="101176" cy="452405"/>
              </a:xfrm>
              <a:custGeom>
                <a:avLst/>
                <a:gdLst>
                  <a:gd name="connsiteX0" fmla="*/ 0 w 101174"/>
                  <a:gd name="connsiteY0" fmla="*/ 0 h 452407"/>
                  <a:gd name="connsiteX1" fmla="*/ 101174 w 101174"/>
                  <a:gd name="connsiteY1" fmla="*/ 0 h 452407"/>
                  <a:gd name="connsiteX2" fmla="*/ 101174 w 101174"/>
                  <a:gd name="connsiteY2" fmla="*/ 452407 h 452407"/>
                  <a:gd name="connsiteX3" fmla="*/ 0 w 101174"/>
                  <a:gd name="connsiteY3" fmla="*/ 452407 h 452407"/>
                  <a:gd name="connsiteX4" fmla="*/ 0 w 101174"/>
                  <a:gd name="connsiteY4" fmla="*/ 0 h 452407"/>
                  <a:gd name="connsiteX0" fmla="*/ 0 w 101175"/>
                  <a:gd name="connsiteY0" fmla="*/ 52391 h 452407"/>
                  <a:gd name="connsiteX1" fmla="*/ 101175 w 101175"/>
                  <a:gd name="connsiteY1" fmla="*/ 0 h 452407"/>
                  <a:gd name="connsiteX2" fmla="*/ 101175 w 101175"/>
                  <a:gd name="connsiteY2" fmla="*/ 452407 h 452407"/>
                  <a:gd name="connsiteX3" fmla="*/ 1 w 101175"/>
                  <a:gd name="connsiteY3" fmla="*/ 452407 h 452407"/>
                  <a:gd name="connsiteX4" fmla="*/ 0 w 101175"/>
                  <a:gd name="connsiteY4" fmla="*/ 52391 h 45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175" h="452407">
                    <a:moveTo>
                      <a:pt x="0" y="52391"/>
                    </a:moveTo>
                    <a:lnTo>
                      <a:pt x="101175" y="0"/>
                    </a:lnTo>
                    <a:lnTo>
                      <a:pt x="101175" y="452407"/>
                    </a:lnTo>
                    <a:lnTo>
                      <a:pt x="1" y="452407"/>
                    </a:lnTo>
                    <a:cubicBezTo>
                      <a:pt x="1" y="319068"/>
                      <a:pt x="0" y="185730"/>
                      <a:pt x="0" y="52391"/>
                    </a:cubicBezTo>
                    <a:close/>
                  </a:path>
                </a:pathLst>
              </a:custGeom>
              <a:grpFill/>
              <a:ln w="9525" cap="flat" cmpd="sng" algn="ctr">
                <a:noFill/>
                <a:prstDash val="solid"/>
                <a:miter lim="800000"/>
                <a:headEnd type="none" w="med" len="med"/>
                <a:tailEnd type="none" w="med" len="med"/>
              </a:ln>
              <a:effectLst/>
            </p:spPr>
            <p:txBody>
              <a:bodyPr wrap="square" lIns="107888" tIns="53944" rIns="107888" bIns="53944" numCol="1" spcCol="72000" rtlCol="0" anchor="t">
                <a:noAutofit/>
              </a:bodyPr>
              <a:lstStyle/>
              <a:p>
                <a:pPr defTabSz="913486">
                  <a:lnSpc>
                    <a:spcPct val="110000"/>
                  </a:lnSpc>
                  <a:spcBef>
                    <a:spcPct val="0"/>
                  </a:spcBef>
                </a:pPr>
                <a:endParaRPr lang="en-US" sz="1398">
                  <a:solidFill>
                    <a:srgbClr val="FFFFFF"/>
                  </a:solidFill>
                  <a:ea typeface="Arial Unicode MS" panose="020B0604020202020204" pitchFamily="34" charset="-128"/>
                  <a:cs typeface="Arial" panose="020B0604020202020204" pitchFamily="34" charset="0"/>
                </a:endParaRPr>
              </a:p>
            </p:txBody>
          </p:sp>
          <p:sp>
            <p:nvSpPr>
              <p:cNvPr id="246" name="Rechteck: obere Ecken abgerundet 7">
                <a:extLst>
                  <a:ext uri="{FF2B5EF4-FFF2-40B4-BE49-F238E27FC236}">
                    <a16:creationId xmlns:a16="http://schemas.microsoft.com/office/drawing/2014/main" id="{682D7EE4-70C3-321F-DB51-F164B239947F}"/>
                  </a:ext>
                </a:extLst>
              </p:cNvPr>
              <p:cNvSpPr/>
              <p:nvPr/>
            </p:nvSpPr>
            <p:spPr bwMode="auto">
              <a:xfrm>
                <a:off x="9040222" y="4064007"/>
                <a:ext cx="962022" cy="156141"/>
              </a:xfrm>
              <a:prstGeom prst="round2SameRect">
                <a:avLst>
                  <a:gd name="adj1" fmla="val 42068"/>
                  <a:gd name="adj2" fmla="val 0"/>
                </a:avLst>
              </a:prstGeom>
              <a:grp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endParaRPr>
              </a:p>
            </p:txBody>
          </p:sp>
          <p:sp>
            <p:nvSpPr>
              <p:cNvPr id="247" name="Freihandform: Form 9">
                <a:extLst>
                  <a:ext uri="{FF2B5EF4-FFF2-40B4-BE49-F238E27FC236}">
                    <a16:creationId xmlns:a16="http://schemas.microsoft.com/office/drawing/2014/main" id="{F8948938-E65E-22E7-4E46-6C551F94C2E6}"/>
                  </a:ext>
                </a:extLst>
              </p:cNvPr>
              <p:cNvSpPr/>
              <p:nvPr/>
            </p:nvSpPr>
            <p:spPr>
              <a:xfrm>
                <a:off x="9040215" y="4235533"/>
                <a:ext cx="1061467" cy="258199"/>
              </a:xfrm>
              <a:custGeom>
                <a:avLst/>
                <a:gdLst>
                  <a:gd name="connsiteX0" fmla="*/ 0 w 1549400"/>
                  <a:gd name="connsiteY0" fmla="*/ 0 h 272485"/>
                  <a:gd name="connsiteX1" fmla="*/ 1406525 w 1549400"/>
                  <a:gd name="connsiteY1" fmla="*/ 0 h 272485"/>
                  <a:gd name="connsiteX2" fmla="*/ 1406526 w 1549400"/>
                  <a:gd name="connsiteY2" fmla="*/ 0 h 272485"/>
                  <a:gd name="connsiteX3" fmla="*/ 1406526 w 1549400"/>
                  <a:gd name="connsiteY3" fmla="*/ 2 h 272485"/>
                  <a:gd name="connsiteX4" fmla="*/ 1549400 w 1549400"/>
                  <a:gd name="connsiteY4" fmla="*/ 272485 h 272485"/>
                  <a:gd name="connsiteX5" fmla="*/ 1406526 w 1549400"/>
                  <a:gd name="connsiteY5" fmla="*/ 272485 h 272485"/>
                  <a:gd name="connsiteX6" fmla="*/ 1406525 w 1549400"/>
                  <a:gd name="connsiteY6" fmla="*/ 272485 h 272485"/>
                  <a:gd name="connsiteX7" fmla="*/ 0 w 1549400"/>
                  <a:gd name="connsiteY7" fmla="*/ 272485 h 27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400" h="272485">
                    <a:moveTo>
                      <a:pt x="0" y="0"/>
                    </a:moveTo>
                    <a:lnTo>
                      <a:pt x="1406525" y="0"/>
                    </a:lnTo>
                    <a:lnTo>
                      <a:pt x="1406526" y="0"/>
                    </a:lnTo>
                    <a:lnTo>
                      <a:pt x="1406526" y="2"/>
                    </a:lnTo>
                    <a:lnTo>
                      <a:pt x="1549400" y="272485"/>
                    </a:lnTo>
                    <a:lnTo>
                      <a:pt x="1406526" y="272485"/>
                    </a:lnTo>
                    <a:lnTo>
                      <a:pt x="1406525" y="272485"/>
                    </a:lnTo>
                    <a:lnTo>
                      <a:pt x="0" y="272485"/>
                    </a:lnTo>
                    <a:close/>
                  </a:path>
                </a:pathLst>
              </a:custGeom>
              <a:grpFill/>
              <a:ln w="2442" cap="flat">
                <a:noFill/>
                <a:prstDash val="solid"/>
                <a:miter/>
              </a:ln>
            </p:spPr>
            <p:txBody>
              <a:bodyPr rot="0" spcFirstLastPara="0" vertOverflow="overflow" horzOverflow="overflow" vert="horz" wrap="square" lIns="91344" tIns="45672" rIns="91344" bIns="45672" numCol="1" spcCol="0" rtlCol="0" fromWordArt="0" anchor="ctr" anchorCtr="0" forceAA="0" compatLnSpc="1">
                <a:prstTxWarp prst="textNoShape">
                  <a:avLst/>
                </a:prstTxWarp>
                <a:noAutofit/>
              </a:bodyPr>
              <a:lstStyle/>
              <a:p>
                <a:pPr defTabSz="913486"/>
                <a:endParaRPr lang="en-US" sz="1798">
                  <a:solidFill>
                    <a:srgbClr val="FFFFFF"/>
                  </a:solidFill>
                </a:endParaRPr>
              </a:p>
            </p:txBody>
          </p:sp>
        </p:grpSp>
      </p:grpSp>
    </p:spTree>
    <p:extLst>
      <p:ext uri="{BB962C8B-B14F-4D97-AF65-F5344CB8AC3E}">
        <p14:creationId xmlns:p14="http://schemas.microsoft.com/office/powerpoint/2010/main" val="40571121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CO</a:t>
            </a:r>
            <a:r>
              <a:rPr lang="en-US" baseline="-25000"/>
              <a:t>2</a:t>
            </a:r>
            <a:r>
              <a:rPr lang="en-US"/>
              <a:t>abatementcost</a:t>
            </a:r>
          </a:p>
        </p:txBody>
      </p:sp>
      <p:grpSp>
        <p:nvGrpSpPr>
          <p:cNvPr id="11" name="Gruppieren 10">
            <a:extLst>
              <a:ext uri="{FF2B5EF4-FFF2-40B4-BE49-F238E27FC236}">
                <a16:creationId xmlns:a16="http://schemas.microsoft.com/office/drawing/2014/main" id="{0396B2D8-3E58-4D65-A054-414C744F2CFA}"/>
              </a:ext>
            </a:extLst>
          </p:cNvPr>
          <p:cNvGrpSpPr>
            <a:grpSpLocks/>
          </p:cNvGrpSpPr>
          <p:nvPr/>
        </p:nvGrpSpPr>
        <p:grpSpPr>
          <a:xfrm>
            <a:off x="9898857" y="3919131"/>
            <a:ext cx="1888331" cy="1887944"/>
            <a:chOff x="5355001" y="5163973"/>
            <a:chExt cx="419530" cy="419444"/>
          </a:xfrm>
        </p:grpSpPr>
        <p:sp>
          <p:nvSpPr>
            <p:cNvPr id="12" name="Rectangle 12">
              <a:extLst>
                <a:ext uri="{FF2B5EF4-FFF2-40B4-BE49-F238E27FC236}">
                  <a16:creationId xmlns:a16="http://schemas.microsoft.com/office/drawing/2014/main" id="{8223D6CD-FA1A-47FC-A375-AEA1DFDD5AA3}"/>
                </a:ext>
              </a:extLst>
            </p:cNvPr>
            <p:cNvSpPr>
              <a:spLocks/>
            </p:cNvSpPr>
            <p:nvPr/>
          </p:nvSpPr>
          <p:spPr>
            <a:xfrm>
              <a:off x="5355001" y="5163973"/>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 name="Grafik 12" descr="Ein Bild, das Pfeil enthält.&#10;&#10;Beschreibung automatisch generiert.">
              <a:extLst>
                <a:ext uri="{FF2B5EF4-FFF2-40B4-BE49-F238E27FC236}">
                  <a16:creationId xmlns:a16="http://schemas.microsoft.com/office/drawing/2014/main" id="{92032AA6-DA4E-4635-8626-6451F5E01E7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5652" t="39961" r="11250" b="25000"/>
            <a:stretch/>
          </p:blipFill>
          <p:spPr>
            <a:xfrm>
              <a:off x="5369719" y="5250585"/>
              <a:ext cx="397080" cy="236450"/>
            </a:xfrm>
            <a:custGeom>
              <a:avLst/>
              <a:gdLst>
                <a:gd name="connsiteX0" fmla="*/ 889000 w 4343400"/>
                <a:gd name="connsiteY0" fmla="*/ 0 h 2184400"/>
                <a:gd name="connsiteX1" fmla="*/ 4343400 w 4343400"/>
                <a:gd name="connsiteY1" fmla="*/ 1143000 h 2184400"/>
                <a:gd name="connsiteX2" fmla="*/ 4343400 w 4343400"/>
                <a:gd name="connsiteY2" fmla="*/ 2146300 h 2184400"/>
                <a:gd name="connsiteX3" fmla="*/ 38100 w 4343400"/>
                <a:gd name="connsiteY3" fmla="*/ 2146300 h 2184400"/>
                <a:gd name="connsiteX4" fmla="*/ 0 w 4343400"/>
                <a:gd name="connsiteY4" fmla="*/ 2184400 h 2184400"/>
                <a:gd name="connsiteX5" fmla="*/ 215900 w 4343400"/>
                <a:gd name="connsiteY5" fmla="*/ 571500 h 21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400" h="2184400">
                  <a:moveTo>
                    <a:pt x="889000" y="0"/>
                  </a:moveTo>
                  <a:lnTo>
                    <a:pt x="4343400" y="1143000"/>
                  </a:lnTo>
                  <a:lnTo>
                    <a:pt x="4343400" y="2146300"/>
                  </a:lnTo>
                  <a:lnTo>
                    <a:pt x="38100" y="2146300"/>
                  </a:lnTo>
                  <a:lnTo>
                    <a:pt x="0" y="2184400"/>
                  </a:lnTo>
                  <a:lnTo>
                    <a:pt x="215900" y="571500"/>
                  </a:lnTo>
                  <a:close/>
                </a:path>
              </a:pathLst>
            </a:custGeom>
          </p:spPr>
        </p:pic>
      </p:grpSp>
    </p:spTree>
    <p:extLst>
      <p:ext uri="{BB962C8B-B14F-4D97-AF65-F5344CB8AC3E}">
        <p14:creationId xmlns:p14="http://schemas.microsoft.com/office/powerpoint/2010/main" val="3015186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0ED022B-BD8D-CC6A-10CF-F1BCD878F4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4" name="Objekt 3" hidden="1">
                        <a:extLst>
                          <a:ext uri="{FF2B5EF4-FFF2-40B4-BE49-F238E27FC236}">
                            <a16:creationId xmlns:a16="http://schemas.microsoft.com/office/drawing/2014/main" id="{C0ED022B-BD8D-CC6A-10CF-F1BCD878F4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C668BE36-1969-51D0-59FC-42F494D32000}"/>
              </a:ext>
            </a:extLst>
          </p:cNvPr>
          <p:cNvSpPr>
            <a:spLocks/>
          </p:cNvSpPr>
          <p:nvPr/>
        </p:nvSpPr>
        <p:spPr>
          <a:xfrm>
            <a:off x="1" y="1414463"/>
            <a:ext cx="4298949"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18" name="Richtungspfeil 17">
            <a:extLst>
              <a:ext uri="{FF2B5EF4-FFF2-40B4-BE49-F238E27FC236}">
                <a16:creationId xmlns:a16="http://schemas.microsoft.com/office/drawing/2014/main" id="{7E32B63A-6529-5653-7E61-F961428B4A33}"/>
              </a:ext>
            </a:extLst>
          </p:cNvPr>
          <p:cNvSpPr>
            <a:spLocks/>
          </p:cNvSpPr>
          <p:nvPr>
            <p:custDataLst>
              <p:tags r:id="rId2"/>
            </p:custDataLst>
          </p:nvPr>
        </p:nvSpPr>
        <p:spPr bwMode="gray">
          <a:xfrm>
            <a:off x="410400" y="4254246"/>
            <a:ext cx="3487737" cy="646331"/>
          </a:xfrm>
          <a:prstGeom prst="rect">
            <a:avLst/>
          </a:prstGeom>
        </p:spPr>
        <p:txBody>
          <a:bodyPr vert="horz" wrap="square" lIns="0" tIns="0" rIns="0" bIns="0" rtlCol="0">
            <a:spAutoFit/>
          </a:bodyPr>
          <a:lstStyle/>
          <a:p>
            <a:pPr defTabSz="913943" fontAlgn="base">
              <a:spcAft>
                <a:spcPts val="300"/>
              </a:spcAft>
            </a:pPr>
            <a:r>
              <a:rPr lang="en-US" sz="1400">
                <a:solidFill>
                  <a:schemeClr val="bg1">
                    <a:lumMod val="85000"/>
                  </a:schemeClr>
                </a:solidFill>
              </a:rPr>
              <a:t>Technologies where direct use of electricity is possible show an advantage of ca. 700 EUR per </a:t>
            </a:r>
            <a:r>
              <a:rPr lang="en-US" sz="1400" err="1">
                <a:solidFill>
                  <a:schemeClr val="bg1">
                    <a:lumMod val="85000"/>
                  </a:schemeClr>
                </a:solidFill>
              </a:rPr>
              <a:t>Tonne</a:t>
            </a:r>
            <a:r>
              <a:rPr lang="en-US" sz="1400">
                <a:solidFill>
                  <a:schemeClr val="bg1">
                    <a:lumMod val="85000"/>
                  </a:schemeClr>
                </a:solidFill>
              </a:rPr>
              <a:t> of CO</a:t>
            </a:r>
            <a:r>
              <a:rPr lang="en-US" sz="1400" baseline="-25000">
                <a:solidFill>
                  <a:schemeClr val="bg1">
                    <a:lumMod val="85000"/>
                  </a:schemeClr>
                </a:solidFill>
              </a:rPr>
              <a:t>2</a:t>
            </a:r>
            <a:r>
              <a:rPr lang="en-US" sz="1400">
                <a:solidFill>
                  <a:schemeClr val="bg1">
                    <a:lumMod val="85000"/>
                  </a:schemeClr>
                </a:solidFill>
              </a:rPr>
              <a:t>.</a:t>
            </a:r>
          </a:p>
        </p:txBody>
      </p:sp>
      <p:sp>
        <p:nvSpPr>
          <p:cNvPr id="19" name="Richtungspfeil 17">
            <a:extLst>
              <a:ext uri="{FF2B5EF4-FFF2-40B4-BE49-F238E27FC236}">
                <a16:creationId xmlns:a16="http://schemas.microsoft.com/office/drawing/2014/main" id="{0F3986D2-3A1F-8502-9AFE-5E7781C2C3DD}"/>
              </a:ext>
            </a:extLst>
          </p:cNvPr>
          <p:cNvSpPr>
            <a:spLocks/>
          </p:cNvSpPr>
          <p:nvPr>
            <p:custDataLst>
              <p:tags r:id="rId3"/>
            </p:custDataLst>
          </p:nvPr>
        </p:nvSpPr>
        <p:spPr bwMode="gray">
          <a:xfrm>
            <a:off x="411163" y="1771172"/>
            <a:ext cx="3487737" cy="1477328"/>
          </a:xfrm>
          <a:prstGeom prst="rect">
            <a:avLst/>
          </a:prstGeom>
        </p:spPr>
        <p:txBody>
          <a:bodyPr vert="horz" wrap="square" lIns="0" tIns="0" rIns="0" bIns="0" rtlCol="0">
            <a:spAutoFit/>
          </a:bodyPr>
          <a:lstStyle/>
          <a:p>
            <a:pPr defTabSz="913943" fontAlgn="base">
              <a:spcAft>
                <a:spcPts val="300"/>
              </a:spcAft>
            </a:pPr>
            <a:r>
              <a:rPr lang="en-US" sz="1600">
                <a:solidFill>
                  <a:schemeClr val="bg1">
                    <a:lumMod val="85000"/>
                  </a:schemeClr>
                </a:solidFill>
              </a:rPr>
              <a:t>Policy measures can influence the relative TCO in the short term, but the global picture for most economical solutions is better shown by looking at the full abatement cost of each solution.</a:t>
            </a:r>
          </a:p>
        </p:txBody>
      </p:sp>
      <p:cxnSp>
        <p:nvCxnSpPr>
          <p:cNvPr id="21" name="Gerader Verbinder 20">
            <a:extLst>
              <a:ext uri="{FF2B5EF4-FFF2-40B4-BE49-F238E27FC236}">
                <a16:creationId xmlns:a16="http://schemas.microsoft.com/office/drawing/2014/main" id="{8F9DECB8-CA79-4B73-0DDB-34C2578B6387}"/>
              </a:ext>
            </a:extLst>
          </p:cNvPr>
          <p:cNvCxnSpPr>
            <a:cxnSpLocks/>
          </p:cNvCxnSpPr>
          <p:nvPr/>
        </p:nvCxnSpPr>
        <p:spPr>
          <a:xfrm>
            <a:off x="411163" y="3628262"/>
            <a:ext cx="3487737" cy="0"/>
          </a:xfrm>
          <a:prstGeom prst="line">
            <a:avLst/>
          </a:prstGeom>
          <a:ln w="9525">
            <a:solidFill>
              <a:srgbClr val="333353"/>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D407DDD5-3408-03F1-0E8C-E00CCBF4FAC1}"/>
              </a:ext>
            </a:extLst>
          </p:cNvPr>
          <p:cNvSpPr>
            <a:spLocks noGrp="1"/>
          </p:cNvSpPr>
          <p:nvPr>
            <p:ph type="title"/>
          </p:nvPr>
        </p:nvSpPr>
        <p:spPr/>
        <p:txBody>
          <a:bodyPr vert="horz"/>
          <a:lstStyle/>
          <a:p>
            <a:r>
              <a:rPr lang="en-US"/>
              <a:t>NPM also sees electric solutions far ahead of indirect alternatives in 2030</a:t>
            </a:r>
          </a:p>
        </p:txBody>
      </p:sp>
      <p:graphicFrame>
        <p:nvGraphicFramePr>
          <p:cNvPr id="8" name="Diagramm 7">
            <a:extLst>
              <a:ext uri="{FF2B5EF4-FFF2-40B4-BE49-F238E27FC236}">
                <a16:creationId xmlns:a16="http://schemas.microsoft.com/office/drawing/2014/main" id="{31674D36-8479-07F9-805F-E32D4AB410F3}"/>
              </a:ext>
            </a:extLst>
          </p:cNvPr>
          <p:cNvGraphicFramePr/>
          <p:nvPr/>
        </p:nvGraphicFramePr>
        <p:xfrm>
          <a:off x="4904671" y="2013994"/>
          <a:ext cx="7010841" cy="4059261"/>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Box 36">
            <a:extLst>
              <a:ext uri="{FF2B5EF4-FFF2-40B4-BE49-F238E27FC236}">
                <a16:creationId xmlns:a16="http://schemas.microsoft.com/office/drawing/2014/main" id="{8E2D1A25-BDA1-7AAD-C323-8FE203075835}"/>
              </a:ext>
            </a:extLst>
          </p:cNvPr>
          <p:cNvSpPr txBox="1">
            <a:spLocks/>
          </p:cNvSpPr>
          <p:nvPr/>
        </p:nvSpPr>
        <p:spPr>
          <a:xfrm>
            <a:off x="5332812" y="1630621"/>
            <a:ext cx="6448071" cy="28110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b="1">
                <a:solidFill>
                  <a:schemeClr val="accent2"/>
                </a:solidFill>
              </a:rPr>
              <a:t>Commercial vehicles &gt;20t permissible total weight in 2030</a:t>
            </a:r>
          </a:p>
        </p:txBody>
      </p:sp>
    </p:spTree>
    <p:extLst>
      <p:ext uri="{BB962C8B-B14F-4D97-AF65-F5344CB8AC3E}">
        <p14:creationId xmlns:p14="http://schemas.microsoft.com/office/powerpoint/2010/main" val="11607587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B046729-AB16-7299-D134-A5F7A87A6514}"/>
              </a:ext>
            </a:extLst>
          </p:cNvPr>
          <p:cNvGraphicFramePr>
            <a:graphicFrameLocks noChangeAspect="1"/>
          </p:cNvGraphicFramePr>
          <p:nvPr>
            <p:custDataLst>
              <p:tags r:id="rId1"/>
            </p:custDataLst>
            <p:extLst>
              <p:ext uri="{D42A27DB-BD31-4B8C-83A1-F6EECF244321}">
                <p14:modId xmlns:p14="http://schemas.microsoft.com/office/powerpoint/2010/main" val="352863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5" progId="TCLayout.ActiveDocument.1">
                  <p:embed/>
                </p:oleObj>
              </mc:Choice>
              <mc:Fallback>
                <p:oleObj name="think-cell Slide" r:id="rId8" imgW="344" imgH="345" progId="TCLayout.ActiveDocument.1">
                  <p:embed/>
                  <p:pic>
                    <p:nvPicPr>
                      <p:cNvPr id="5" name="Objekt 4" hidden="1">
                        <a:extLst>
                          <a:ext uri="{FF2B5EF4-FFF2-40B4-BE49-F238E27FC236}">
                            <a16:creationId xmlns:a16="http://schemas.microsoft.com/office/drawing/2014/main" id="{6B046729-AB16-7299-D134-A5F7A87A651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D64F4F-586D-92C9-B7D0-56D1FE4B1A65}"/>
              </a:ext>
            </a:extLst>
          </p:cNvPr>
          <p:cNvSpPr>
            <a:spLocks noGrp="1"/>
          </p:cNvSpPr>
          <p:nvPr>
            <p:ph type="title"/>
          </p:nvPr>
        </p:nvSpPr>
        <p:spPr>
          <a:xfrm>
            <a:off x="410400" y="478800"/>
            <a:ext cx="11376788" cy="576000"/>
          </a:xfrm>
        </p:spPr>
        <p:txBody>
          <a:bodyPr vert="horz"/>
          <a:lstStyle/>
          <a:p>
            <a:r>
              <a:rPr lang="en-US" dirty="0"/>
              <a:t>In summary:</a:t>
            </a:r>
            <a:br>
              <a:rPr lang="en-US" dirty="0"/>
            </a:br>
            <a:r>
              <a:rPr lang="en-US" b="0" dirty="0">
                <a:solidFill>
                  <a:prstClr val="white"/>
                </a:solidFill>
                <a:latin typeface="Arial"/>
              </a:rPr>
              <a:t>Dynamic charging is an essential solution for climate protection in heavy road freight transport </a:t>
            </a:r>
            <a:br>
              <a:rPr lang="en-US" b="0" dirty="0">
                <a:solidFill>
                  <a:prstClr val="white"/>
                </a:solidFill>
                <a:latin typeface="Arial"/>
              </a:rPr>
            </a:br>
            <a:br>
              <a:rPr lang="en-US" b="0" dirty="0">
                <a:solidFill>
                  <a:prstClr val="white"/>
                </a:solidFill>
                <a:latin typeface="Arial"/>
              </a:rPr>
            </a:br>
            <a:r>
              <a:rPr lang="en-US" b="0" dirty="0">
                <a:solidFill>
                  <a:prstClr val="white"/>
                </a:solidFill>
                <a:latin typeface="Arial"/>
              </a:rPr>
              <a:t>It</a:t>
            </a:r>
            <a:r>
              <a:rPr lang="en-US" dirty="0"/>
              <a:t>…</a:t>
            </a:r>
            <a:endParaRPr lang="de-DE" dirty="0"/>
          </a:p>
        </p:txBody>
      </p:sp>
      <p:grpSp>
        <p:nvGrpSpPr>
          <p:cNvPr id="18" name="Gruppieren 17">
            <a:extLst>
              <a:ext uri="{FF2B5EF4-FFF2-40B4-BE49-F238E27FC236}">
                <a16:creationId xmlns:a16="http://schemas.microsoft.com/office/drawing/2014/main" id="{CEF8C4DA-7626-4AE3-B7ED-AAD2B044B691}"/>
              </a:ext>
            </a:extLst>
          </p:cNvPr>
          <p:cNvGrpSpPr/>
          <p:nvPr/>
        </p:nvGrpSpPr>
        <p:grpSpPr>
          <a:xfrm>
            <a:off x="70419" y="1422400"/>
            <a:ext cx="11876129" cy="5029020"/>
            <a:chOff x="1064287" y="1833622"/>
            <a:chExt cx="9933913" cy="4206576"/>
          </a:xfrm>
        </p:grpSpPr>
        <p:sp>
          <p:nvSpPr>
            <p:cNvPr id="11" name="Textfeld 10">
              <a:extLst>
                <a:ext uri="{FF2B5EF4-FFF2-40B4-BE49-F238E27FC236}">
                  <a16:creationId xmlns:a16="http://schemas.microsoft.com/office/drawing/2014/main" id="{F310A248-9259-E2A6-583C-53F385696C1F}"/>
                </a:ext>
              </a:extLst>
            </p:cNvPr>
            <p:cNvSpPr txBox="1">
              <a:spLocks/>
            </p:cNvSpPr>
            <p:nvPr/>
          </p:nvSpPr>
          <p:spPr bwMode="gray">
            <a:xfrm>
              <a:off x="8070438" y="4707634"/>
              <a:ext cx="2927762" cy="463397"/>
            </a:xfrm>
            <a:prstGeom prst="rect">
              <a:avLst/>
            </a:prstGeom>
            <a:noFill/>
          </p:spPr>
          <p:txBody>
            <a:bodyPr wrap="square" lIns="0" tIns="0" rIns="0" bIns="0" rtlCol="0" anchor="ctr">
              <a:spAutoFit/>
            </a:bodyPr>
            <a:lstStyle/>
            <a:p>
              <a:pPr fontAlgn="base">
                <a:spcAft>
                  <a:spcPct val="0"/>
                </a:spcAft>
                <a:buClr>
                  <a:srgbClr val="3C464B"/>
                </a:buClr>
                <a:tabLst>
                  <a:tab pos="0" algn="l"/>
                </a:tabLst>
              </a:pPr>
              <a:r>
                <a:rPr lang="en-US" kern="0">
                  <a:solidFill>
                    <a:srgbClr val="CCCCD4"/>
                  </a:solidFill>
                </a:rPr>
                <a:t>… is flexibly compatible with other technologies and fuels</a:t>
              </a:r>
            </a:p>
          </p:txBody>
        </p:sp>
        <p:grpSp>
          <p:nvGrpSpPr>
            <p:cNvPr id="3" name="Gruppieren 2">
              <a:extLst>
                <a:ext uri="{FF2B5EF4-FFF2-40B4-BE49-F238E27FC236}">
                  <a16:creationId xmlns:a16="http://schemas.microsoft.com/office/drawing/2014/main" id="{D20B985A-6577-4859-AF23-EE4BEBFDF30D}"/>
                </a:ext>
              </a:extLst>
            </p:cNvPr>
            <p:cNvGrpSpPr/>
            <p:nvPr/>
          </p:nvGrpSpPr>
          <p:grpSpPr>
            <a:xfrm>
              <a:off x="1064287" y="1833622"/>
              <a:ext cx="9569912" cy="4206576"/>
              <a:chOff x="1064287" y="1833622"/>
              <a:chExt cx="9569912" cy="4206576"/>
            </a:xfrm>
          </p:grpSpPr>
          <p:sp>
            <p:nvSpPr>
              <p:cNvPr id="6" name="Textfeld 11">
                <a:extLst>
                  <a:ext uri="{FF2B5EF4-FFF2-40B4-BE49-F238E27FC236}">
                    <a16:creationId xmlns:a16="http://schemas.microsoft.com/office/drawing/2014/main" id="{8B523F01-64FA-F7CB-9174-A38FC2439FE8}"/>
                  </a:ext>
                </a:extLst>
              </p:cNvPr>
              <p:cNvSpPr txBox="1">
                <a:spLocks/>
              </p:cNvSpPr>
              <p:nvPr/>
            </p:nvSpPr>
            <p:spPr bwMode="gray">
              <a:xfrm>
                <a:off x="1455062" y="2075050"/>
                <a:ext cx="3241822" cy="463397"/>
              </a:xfrm>
              <a:prstGeom prst="rect">
                <a:avLst/>
              </a:prstGeom>
              <a:noFill/>
            </p:spPr>
            <p:txBody>
              <a:bodyPr wrap="square" lIns="0" tIns="0" rIns="0" bIns="0" rtlCol="0" anchor="ctr">
                <a:spAutoFit/>
              </a:bodyPr>
              <a:lstStyle/>
              <a:p>
                <a:pPr indent="-174625" algn="r" fontAlgn="base">
                  <a:buClr>
                    <a:srgbClr val="3C464B"/>
                  </a:buClr>
                  <a:defRPr/>
                </a:pPr>
                <a:r>
                  <a:rPr lang="en-US" altLang="de-DE" kern="0">
                    <a:solidFill>
                      <a:srgbClr val="CCCCD4"/>
                    </a:solidFill>
                  </a:rPr>
                  <a:t>… combines the benefits of electric railways with the flexibility of trucks</a:t>
                </a:r>
              </a:p>
            </p:txBody>
          </p:sp>
          <p:sp>
            <p:nvSpPr>
              <p:cNvPr id="7" name="Textfeld 17">
                <a:extLst>
                  <a:ext uri="{FF2B5EF4-FFF2-40B4-BE49-F238E27FC236}">
                    <a16:creationId xmlns:a16="http://schemas.microsoft.com/office/drawing/2014/main" id="{C4028906-403C-0A56-22AB-9BB9073B7DF4}"/>
                  </a:ext>
                </a:extLst>
              </p:cNvPr>
              <p:cNvSpPr txBox="1">
                <a:spLocks/>
              </p:cNvSpPr>
              <p:nvPr/>
            </p:nvSpPr>
            <p:spPr bwMode="gray">
              <a:xfrm>
                <a:off x="1064287" y="4823484"/>
                <a:ext cx="2992774" cy="231699"/>
              </a:xfrm>
              <a:prstGeom prst="rect">
                <a:avLst/>
              </a:prstGeom>
              <a:noFill/>
            </p:spPr>
            <p:txBody>
              <a:bodyPr wrap="none" lIns="0" tIns="0" rIns="0" bIns="0" rtlCol="0" anchor="ctr">
                <a:spAutoFit/>
              </a:bodyPr>
              <a:lstStyle/>
              <a:p>
                <a:pPr algn="r">
                  <a:buClr>
                    <a:srgbClr val="3C464B"/>
                  </a:buClr>
                </a:pPr>
                <a:r>
                  <a:rPr lang="en-US" kern="0" dirty="0">
                    <a:solidFill>
                      <a:srgbClr val="CCCCD4"/>
                    </a:solidFill>
                  </a:rPr>
                  <a:t>… changes the highway landscape</a:t>
                </a:r>
              </a:p>
            </p:txBody>
          </p:sp>
          <p:sp>
            <p:nvSpPr>
              <p:cNvPr id="8" name="Textfeld 18">
                <a:extLst>
                  <a:ext uri="{FF2B5EF4-FFF2-40B4-BE49-F238E27FC236}">
                    <a16:creationId xmlns:a16="http://schemas.microsoft.com/office/drawing/2014/main" id="{D569A5C7-B417-9C11-EB03-903745E1CE75}"/>
                  </a:ext>
                </a:extLst>
              </p:cNvPr>
              <p:cNvSpPr txBox="1">
                <a:spLocks/>
              </p:cNvSpPr>
              <p:nvPr/>
            </p:nvSpPr>
            <p:spPr bwMode="gray">
              <a:xfrm>
                <a:off x="2512429" y="5621935"/>
                <a:ext cx="2928413" cy="231699"/>
              </a:xfrm>
              <a:prstGeom prst="rect">
                <a:avLst/>
              </a:prstGeom>
              <a:noFill/>
            </p:spPr>
            <p:txBody>
              <a:bodyPr wrap="none" lIns="0" tIns="0" rIns="0" bIns="0" rtlCol="0" anchor="ctr">
                <a:spAutoFit/>
              </a:bodyPr>
              <a:lstStyle/>
              <a:p>
                <a:pPr algn="r">
                  <a:buClr>
                    <a:srgbClr val="3C464B"/>
                  </a:buClr>
                </a:pPr>
                <a:r>
                  <a:rPr lang="en-US" kern="0">
                    <a:solidFill>
                      <a:srgbClr val="CCCCD4"/>
                    </a:solidFill>
                  </a:rPr>
                  <a:t>… is the most economical solution</a:t>
                </a:r>
              </a:p>
            </p:txBody>
          </p:sp>
          <p:sp>
            <p:nvSpPr>
              <p:cNvPr id="9" name="Textfeld 19">
                <a:extLst>
                  <a:ext uri="{FF2B5EF4-FFF2-40B4-BE49-F238E27FC236}">
                    <a16:creationId xmlns:a16="http://schemas.microsoft.com/office/drawing/2014/main" id="{4E5A376B-25E9-C006-4727-84CFC92BB38B}"/>
                  </a:ext>
                </a:extLst>
              </p:cNvPr>
              <p:cNvSpPr txBox="1">
                <a:spLocks/>
              </p:cNvSpPr>
              <p:nvPr/>
            </p:nvSpPr>
            <p:spPr bwMode="gray">
              <a:xfrm>
                <a:off x="7520819" y="2075050"/>
                <a:ext cx="2753481" cy="463397"/>
              </a:xfrm>
              <a:prstGeom prst="rect">
                <a:avLst/>
              </a:prstGeom>
              <a:noFill/>
            </p:spPr>
            <p:txBody>
              <a:bodyPr wrap="square" lIns="0" tIns="0" rIns="0" bIns="0" rtlCol="0" anchor="ctr">
                <a:spAutoFit/>
              </a:bodyPr>
              <a:lstStyle/>
              <a:p>
                <a:pPr>
                  <a:buClr>
                    <a:srgbClr val="3C464B"/>
                  </a:buClr>
                </a:pPr>
                <a:r>
                  <a:rPr lang="en-US" kern="0">
                    <a:solidFill>
                      <a:srgbClr val="CCCCD4"/>
                    </a:solidFill>
                  </a:rPr>
                  <a:t>… makes it possible to reach the climate protection goals</a:t>
                </a:r>
              </a:p>
            </p:txBody>
          </p:sp>
          <p:sp>
            <p:nvSpPr>
              <p:cNvPr id="10" name="Textfeld 9">
                <a:extLst>
                  <a:ext uri="{FF2B5EF4-FFF2-40B4-BE49-F238E27FC236}">
                    <a16:creationId xmlns:a16="http://schemas.microsoft.com/office/drawing/2014/main" id="{00F41FEC-316E-210F-3DB8-561D047968A6}"/>
                  </a:ext>
                </a:extLst>
              </p:cNvPr>
              <p:cNvSpPr txBox="1">
                <a:spLocks/>
              </p:cNvSpPr>
              <p:nvPr/>
            </p:nvSpPr>
            <p:spPr bwMode="gray">
              <a:xfrm>
                <a:off x="8434439" y="3220504"/>
                <a:ext cx="2199760" cy="463397"/>
              </a:xfrm>
              <a:prstGeom prst="rect">
                <a:avLst/>
              </a:prstGeom>
              <a:noFill/>
            </p:spPr>
            <p:txBody>
              <a:bodyPr wrap="square" lIns="0" tIns="0" rIns="0" bIns="0" rtlCol="0" anchor="ctr">
                <a:spAutoFit/>
              </a:bodyPr>
              <a:lstStyle/>
              <a:p>
                <a:pPr>
                  <a:buClr>
                    <a:srgbClr val="3C464B"/>
                  </a:buClr>
                </a:pPr>
                <a:r>
                  <a:rPr lang="en-US" kern="0">
                    <a:solidFill>
                      <a:srgbClr val="CCCCD4"/>
                    </a:solidFill>
                  </a:rPr>
                  <a:t>… can be realized in an international context</a:t>
                </a:r>
              </a:p>
            </p:txBody>
          </p:sp>
          <p:sp>
            <p:nvSpPr>
              <p:cNvPr id="44" name="Textfeld 17">
                <a:extLst>
                  <a:ext uri="{FF2B5EF4-FFF2-40B4-BE49-F238E27FC236}">
                    <a16:creationId xmlns:a16="http://schemas.microsoft.com/office/drawing/2014/main" id="{38B8CDCC-02D6-BA08-00FF-09A17322D5DC}"/>
                  </a:ext>
                </a:extLst>
              </p:cNvPr>
              <p:cNvSpPr txBox="1">
                <a:spLocks/>
              </p:cNvSpPr>
              <p:nvPr/>
            </p:nvSpPr>
            <p:spPr bwMode="gray">
              <a:xfrm>
                <a:off x="1442331" y="3336354"/>
                <a:ext cx="2316986" cy="231699"/>
              </a:xfrm>
              <a:prstGeom prst="rect">
                <a:avLst/>
              </a:prstGeom>
              <a:noFill/>
            </p:spPr>
            <p:txBody>
              <a:bodyPr wrap="none" lIns="0" tIns="0" rIns="0" bIns="0" rtlCol="0" anchor="ctr">
                <a:spAutoFit/>
              </a:bodyPr>
              <a:lstStyle/>
              <a:p>
                <a:pPr marR="0" lvl="0" indent="0" algn="r" fontAlgn="base">
                  <a:lnSpc>
                    <a:spcPct val="100000"/>
                  </a:lnSpc>
                  <a:spcBef>
                    <a:spcPts val="0"/>
                  </a:spcBef>
                  <a:spcAft>
                    <a:spcPct val="0"/>
                  </a:spcAft>
                  <a:buClr>
                    <a:srgbClr val="3C464B"/>
                  </a:buClr>
                  <a:buSzTx/>
                  <a:buFontTx/>
                  <a:buNone/>
                  <a:tabLst>
                    <a:tab pos="0" algn="l"/>
                  </a:tabLst>
                  <a:defRPr/>
                </a:pPr>
                <a:r>
                  <a:rPr lang="en-US" kern="0">
                    <a:solidFill>
                      <a:srgbClr val="CCCCD4"/>
                    </a:solidFill>
                  </a:rPr>
                  <a:t>… can quickly be rolled out</a:t>
                </a:r>
              </a:p>
            </p:txBody>
          </p:sp>
          <p:sp>
            <p:nvSpPr>
              <p:cNvPr id="52" name="Ellipse 51">
                <a:extLst>
                  <a:ext uri="{FF2B5EF4-FFF2-40B4-BE49-F238E27FC236}">
                    <a16:creationId xmlns:a16="http://schemas.microsoft.com/office/drawing/2014/main" id="{926957F1-525F-90E4-9F0A-C83EBDE484D1}"/>
                  </a:ext>
                </a:extLst>
              </p:cNvPr>
              <p:cNvSpPr>
                <a:spLocks/>
              </p:cNvSpPr>
              <p:nvPr/>
            </p:nvSpPr>
            <p:spPr>
              <a:xfrm>
                <a:off x="4594293" y="2374862"/>
                <a:ext cx="2988000" cy="2989234"/>
              </a:xfrm>
              <a:prstGeom prst="ellipse">
                <a:avLst/>
              </a:prstGeom>
              <a:blipFill dpi="0" rotWithShape="1">
                <a:blip r:embed="rId10"/>
                <a:srcRect/>
                <a:stretch>
                  <a:fillRect l="-13503" t="-13778" r="-13503" b="-13778"/>
                </a:stretch>
              </a:blipFill>
              <a:ln>
                <a:noFill/>
              </a:ln>
              <a:effectLst/>
            </p:spPr>
            <p:txBody>
              <a:bodyPr wrap="square" lIns="107944" tIns="53972" rIns="107944" bIns="53972" numCol="1" spcCol="72000" rtlCol="0" anchor="ctr">
                <a:noAutofit/>
              </a:bodyPr>
              <a:lstStyle/>
              <a:p>
                <a:pPr algn="ctr">
                  <a:lnSpc>
                    <a:spcPct val="110000"/>
                  </a:lnSpc>
                  <a:spcBef>
                    <a:spcPct val="0"/>
                  </a:spcBef>
                </a:pPr>
                <a:endParaRPr lang="en-US" sz="1600" b="1">
                  <a:solidFill>
                    <a:schemeClr val="bg1"/>
                  </a:solidFill>
                  <a:latin typeface="Arial" charset="0"/>
                  <a:ea typeface="ＭＳ Ｐゴシック" pitchFamily="34" charset="-128"/>
                  <a:cs typeface="Arial" charset="0"/>
                </a:endParaRPr>
              </a:p>
            </p:txBody>
          </p:sp>
          <p:sp>
            <p:nvSpPr>
              <p:cNvPr id="47" name="Ellipse 46">
                <a:extLst>
                  <a:ext uri="{FF2B5EF4-FFF2-40B4-BE49-F238E27FC236}">
                    <a16:creationId xmlns:a16="http://schemas.microsoft.com/office/drawing/2014/main" id="{1EB890FD-B1DB-7E2B-F001-FFA118985A8E}"/>
                  </a:ext>
                </a:extLst>
              </p:cNvPr>
              <p:cNvSpPr>
                <a:spLocks/>
              </p:cNvSpPr>
              <p:nvPr/>
            </p:nvSpPr>
            <p:spPr>
              <a:xfrm>
                <a:off x="4345217" y="2125683"/>
                <a:ext cx="3486152" cy="3487592"/>
              </a:xfrm>
              <a:prstGeom prst="ellipse">
                <a:avLst/>
              </a:prstGeom>
              <a:noFill/>
              <a:ln w="28575">
                <a:gradFill>
                  <a:gsLst>
                    <a:gs pos="0">
                      <a:srgbClr val="00FFB9"/>
                    </a:gs>
                    <a:gs pos="100000">
                      <a:srgbClr val="00E6DC"/>
                    </a:gs>
                  </a:gsLst>
                  <a:lin ang="5400000" scaled="1"/>
                </a:gradFill>
              </a:ln>
              <a:effectLst/>
            </p:spPr>
            <p:txBody>
              <a:bodyPr wrap="square" lIns="107944" tIns="53972" rIns="107944" bIns="53972" numCol="1" spcCol="72000" rtlCol="0" anchor="ctr">
                <a:noAutofit/>
              </a:bodyPr>
              <a:lstStyle/>
              <a:p>
                <a:pPr algn="ctr">
                  <a:lnSpc>
                    <a:spcPct val="110000"/>
                  </a:lnSpc>
                  <a:spcBef>
                    <a:spcPct val="0"/>
                  </a:spcBef>
                </a:pPr>
                <a:endParaRPr lang="en-US" sz="1600" b="1">
                  <a:solidFill>
                    <a:schemeClr val="bg1"/>
                  </a:solidFill>
                  <a:latin typeface="Arial" charset="0"/>
                  <a:ea typeface="ＭＳ Ｐゴシック" pitchFamily="34" charset="-128"/>
                  <a:cs typeface="Arial" charset="0"/>
                </a:endParaRPr>
              </a:p>
            </p:txBody>
          </p:sp>
          <p:grpSp>
            <p:nvGrpSpPr>
              <p:cNvPr id="14" name="Gruppieren 13">
                <a:extLst>
                  <a:ext uri="{FF2B5EF4-FFF2-40B4-BE49-F238E27FC236}">
                    <a16:creationId xmlns:a16="http://schemas.microsoft.com/office/drawing/2014/main" id="{0E991254-0F5E-F9CE-7834-445B114D8F49}"/>
                  </a:ext>
                </a:extLst>
              </p:cNvPr>
              <p:cNvGrpSpPr>
                <a:grpSpLocks/>
              </p:cNvGrpSpPr>
              <p:nvPr/>
            </p:nvGrpSpPr>
            <p:grpSpPr>
              <a:xfrm>
                <a:off x="5615166" y="5093944"/>
                <a:ext cx="946254" cy="946254"/>
                <a:chOff x="4345597" y="5223838"/>
                <a:chExt cx="1027892" cy="1027892"/>
              </a:xfrm>
            </p:grpSpPr>
            <p:sp>
              <p:nvSpPr>
                <p:cNvPr id="29" name="Ellipse 28">
                  <a:extLst>
                    <a:ext uri="{FF2B5EF4-FFF2-40B4-BE49-F238E27FC236}">
                      <a16:creationId xmlns:a16="http://schemas.microsoft.com/office/drawing/2014/main" id="{CA8F9484-4767-6224-CB6E-EFBA9EA6F422}"/>
                    </a:ext>
                  </a:extLst>
                </p:cNvPr>
                <p:cNvSpPr>
                  <a:spLocks/>
                </p:cNvSpPr>
                <p:nvPr/>
              </p:nvSpPr>
              <p:spPr bwMode="gray">
                <a:xfrm>
                  <a:off x="4345597" y="5223838"/>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sp>
              <p:nvSpPr>
                <p:cNvPr id="35" name="Freeform 101">
                  <a:extLst>
                    <a:ext uri="{FF2B5EF4-FFF2-40B4-BE49-F238E27FC236}">
                      <a16:creationId xmlns:a16="http://schemas.microsoft.com/office/drawing/2014/main" id="{FD7A5A23-D14F-FDCD-B93B-628855A1ED8F}"/>
                    </a:ext>
                  </a:extLst>
                </p:cNvPr>
                <p:cNvSpPr>
                  <a:spLocks/>
                </p:cNvSpPr>
                <p:nvPr>
                  <p:custDataLst>
                    <p:tags r:id="rId5"/>
                  </p:custDataLst>
                </p:nvPr>
              </p:nvSpPr>
              <p:spPr bwMode="auto">
                <a:xfrm>
                  <a:off x="4671008" y="5521432"/>
                  <a:ext cx="377070" cy="432704"/>
                </a:xfrm>
                <a:custGeom>
                  <a:avLst/>
                  <a:gdLst>
                    <a:gd name="T0" fmla="*/ 75 w 1803"/>
                    <a:gd name="T1" fmla="*/ 1146 h 2072"/>
                    <a:gd name="T2" fmla="*/ 272 w 1803"/>
                    <a:gd name="T3" fmla="*/ 1146 h 2072"/>
                    <a:gd name="T4" fmla="*/ 269 w 1803"/>
                    <a:gd name="T5" fmla="*/ 1073 h 2072"/>
                    <a:gd name="T6" fmla="*/ 272 w 1803"/>
                    <a:gd name="T7" fmla="*/ 972 h 2072"/>
                    <a:gd name="T8" fmla="*/ 0 w 1803"/>
                    <a:gd name="T9" fmla="*/ 972 h 2072"/>
                    <a:gd name="T10" fmla="*/ 75 w 1803"/>
                    <a:gd name="T11" fmla="*/ 764 h 2072"/>
                    <a:gd name="T12" fmla="*/ 298 w 1803"/>
                    <a:gd name="T13" fmla="*/ 764 h 2072"/>
                    <a:gd name="T14" fmla="*/ 1192 w 1803"/>
                    <a:gd name="T15" fmla="*/ 0 h 2072"/>
                    <a:gd name="T16" fmla="*/ 1803 w 1803"/>
                    <a:gd name="T17" fmla="*/ 130 h 2072"/>
                    <a:gd name="T18" fmla="*/ 1684 w 1803"/>
                    <a:gd name="T19" fmla="*/ 463 h 2072"/>
                    <a:gd name="T20" fmla="*/ 1253 w 1803"/>
                    <a:gd name="T21" fmla="*/ 341 h 2072"/>
                    <a:gd name="T22" fmla="*/ 741 w 1803"/>
                    <a:gd name="T23" fmla="*/ 764 h 2072"/>
                    <a:gd name="T24" fmla="*/ 1577 w 1803"/>
                    <a:gd name="T25" fmla="*/ 764 h 2072"/>
                    <a:gd name="T26" fmla="*/ 1505 w 1803"/>
                    <a:gd name="T27" fmla="*/ 972 h 2072"/>
                    <a:gd name="T28" fmla="*/ 723 w 1803"/>
                    <a:gd name="T29" fmla="*/ 972 h 2072"/>
                    <a:gd name="T30" fmla="*/ 720 w 1803"/>
                    <a:gd name="T31" fmla="*/ 998 h 2072"/>
                    <a:gd name="T32" fmla="*/ 720 w 1803"/>
                    <a:gd name="T33" fmla="*/ 1039 h 2072"/>
                    <a:gd name="T34" fmla="*/ 729 w 1803"/>
                    <a:gd name="T35" fmla="*/ 1146 h 2072"/>
                    <a:gd name="T36" fmla="*/ 1444 w 1803"/>
                    <a:gd name="T37" fmla="*/ 1146 h 2072"/>
                    <a:gd name="T38" fmla="*/ 1369 w 1803"/>
                    <a:gd name="T39" fmla="*/ 1357 h 2072"/>
                    <a:gd name="T40" fmla="*/ 770 w 1803"/>
                    <a:gd name="T41" fmla="*/ 1357 h 2072"/>
                    <a:gd name="T42" fmla="*/ 1288 w 1803"/>
                    <a:gd name="T43" fmla="*/ 1730 h 2072"/>
                    <a:gd name="T44" fmla="*/ 1710 w 1803"/>
                    <a:gd name="T45" fmla="*/ 1618 h 2072"/>
                    <a:gd name="T46" fmla="*/ 1803 w 1803"/>
                    <a:gd name="T47" fmla="*/ 1962 h 2072"/>
                    <a:gd name="T48" fmla="*/ 1215 w 1803"/>
                    <a:gd name="T49" fmla="*/ 2072 h 2072"/>
                    <a:gd name="T50" fmla="*/ 298 w 1803"/>
                    <a:gd name="T51" fmla="*/ 1357 h 2072"/>
                    <a:gd name="T52" fmla="*/ 0 w 1803"/>
                    <a:gd name="T53" fmla="*/ 1357 h 2072"/>
                    <a:gd name="T54" fmla="*/ 75 w 1803"/>
                    <a:gd name="T55" fmla="*/ 1146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03" h="2072">
                      <a:moveTo>
                        <a:pt x="75" y="1146"/>
                      </a:moveTo>
                      <a:cubicBezTo>
                        <a:pt x="272" y="1146"/>
                        <a:pt x="272" y="1146"/>
                        <a:pt x="272" y="1146"/>
                      </a:cubicBezTo>
                      <a:cubicBezTo>
                        <a:pt x="269" y="1117"/>
                        <a:pt x="269" y="1102"/>
                        <a:pt x="269" y="1073"/>
                      </a:cubicBezTo>
                      <a:cubicBezTo>
                        <a:pt x="269" y="1033"/>
                        <a:pt x="269" y="1013"/>
                        <a:pt x="272" y="972"/>
                      </a:cubicBezTo>
                      <a:cubicBezTo>
                        <a:pt x="0" y="972"/>
                        <a:pt x="0" y="972"/>
                        <a:pt x="0" y="972"/>
                      </a:cubicBezTo>
                      <a:cubicBezTo>
                        <a:pt x="75" y="764"/>
                        <a:pt x="75" y="764"/>
                        <a:pt x="75" y="764"/>
                      </a:cubicBezTo>
                      <a:cubicBezTo>
                        <a:pt x="298" y="764"/>
                        <a:pt x="298" y="764"/>
                        <a:pt x="298" y="764"/>
                      </a:cubicBezTo>
                      <a:cubicBezTo>
                        <a:pt x="399" y="275"/>
                        <a:pt x="723" y="0"/>
                        <a:pt x="1192" y="0"/>
                      </a:cubicBezTo>
                      <a:cubicBezTo>
                        <a:pt x="1424" y="0"/>
                        <a:pt x="1629" y="43"/>
                        <a:pt x="1803" y="130"/>
                      </a:cubicBezTo>
                      <a:cubicBezTo>
                        <a:pt x="1684" y="463"/>
                        <a:pt x="1684" y="463"/>
                        <a:pt x="1684" y="463"/>
                      </a:cubicBezTo>
                      <a:cubicBezTo>
                        <a:pt x="1525" y="376"/>
                        <a:pt x="1403" y="341"/>
                        <a:pt x="1253" y="341"/>
                      </a:cubicBezTo>
                      <a:cubicBezTo>
                        <a:pt x="966" y="341"/>
                        <a:pt x="801" y="477"/>
                        <a:pt x="741" y="764"/>
                      </a:cubicBezTo>
                      <a:cubicBezTo>
                        <a:pt x="1577" y="764"/>
                        <a:pt x="1577" y="764"/>
                        <a:pt x="1577" y="764"/>
                      </a:cubicBezTo>
                      <a:cubicBezTo>
                        <a:pt x="1505" y="972"/>
                        <a:pt x="1505" y="972"/>
                        <a:pt x="1505" y="972"/>
                      </a:cubicBezTo>
                      <a:cubicBezTo>
                        <a:pt x="723" y="972"/>
                        <a:pt x="723" y="972"/>
                        <a:pt x="723" y="972"/>
                      </a:cubicBezTo>
                      <a:cubicBezTo>
                        <a:pt x="720" y="998"/>
                        <a:pt x="720" y="998"/>
                        <a:pt x="720" y="998"/>
                      </a:cubicBezTo>
                      <a:cubicBezTo>
                        <a:pt x="720" y="1039"/>
                        <a:pt x="720" y="1039"/>
                        <a:pt x="720" y="1039"/>
                      </a:cubicBezTo>
                      <a:cubicBezTo>
                        <a:pt x="720" y="1073"/>
                        <a:pt x="723" y="1102"/>
                        <a:pt x="729" y="1146"/>
                      </a:cubicBezTo>
                      <a:cubicBezTo>
                        <a:pt x="1444" y="1146"/>
                        <a:pt x="1444" y="1146"/>
                        <a:pt x="1444" y="1146"/>
                      </a:cubicBezTo>
                      <a:cubicBezTo>
                        <a:pt x="1369" y="1357"/>
                        <a:pt x="1369" y="1357"/>
                        <a:pt x="1369" y="1357"/>
                      </a:cubicBezTo>
                      <a:cubicBezTo>
                        <a:pt x="770" y="1357"/>
                        <a:pt x="770" y="1357"/>
                        <a:pt x="770" y="1357"/>
                      </a:cubicBezTo>
                      <a:cubicBezTo>
                        <a:pt x="854" y="1618"/>
                        <a:pt x="1007" y="1730"/>
                        <a:pt x="1288" y="1730"/>
                      </a:cubicBezTo>
                      <a:cubicBezTo>
                        <a:pt x="1435" y="1730"/>
                        <a:pt x="1566" y="1696"/>
                        <a:pt x="1710" y="1618"/>
                      </a:cubicBezTo>
                      <a:cubicBezTo>
                        <a:pt x="1803" y="1962"/>
                        <a:pt x="1803" y="1962"/>
                        <a:pt x="1803" y="1962"/>
                      </a:cubicBezTo>
                      <a:cubicBezTo>
                        <a:pt x="1626" y="2037"/>
                        <a:pt x="1438" y="2072"/>
                        <a:pt x="1215" y="2072"/>
                      </a:cubicBezTo>
                      <a:cubicBezTo>
                        <a:pt x="726" y="2072"/>
                        <a:pt x="393" y="1814"/>
                        <a:pt x="298" y="1357"/>
                      </a:cubicBezTo>
                      <a:cubicBezTo>
                        <a:pt x="0" y="1357"/>
                        <a:pt x="0" y="1357"/>
                        <a:pt x="0" y="1357"/>
                      </a:cubicBezTo>
                      <a:lnTo>
                        <a:pt x="75" y="114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en-US" sz="2000">
                    <a:solidFill>
                      <a:srgbClr val="ADBECB"/>
                    </a:solidFill>
                    <a:ea typeface="ＭＳ Ｐゴシック" charset="-128"/>
                  </a:endParaRPr>
                </a:p>
              </p:txBody>
            </p:sp>
          </p:grpSp>
          <p:grpSp>
            <p:nvGrpSpPr>
              <p:cNvPr id="16" name="Gruppieren 15">
                <a:extLst>
                  <a:ext uri="{FF2B5EF4-FFF2-40B4-BE49-F238E27FC236}">
                    <a16:creationId xmlns:a16="http://schemas.microsoft.com/office/drawing/2014/main" id="{3BAE9C2C-BB9A-AE75-E9DD-188C658522CA}"/>
                  </a:ext>
                </a:extLst>
              </p:cNvPr>
              <p:cNvGrpSpPr>
                <a:grpSpLocks/>
              </p:cNvGrpSpPr>
              <p:nvPr/>
            </p:nvGrpSpPr>
            <p:grpSpPr>
              <a:xfrm>
                <a:off x="3899914" y="2979076"/>
                <a:ext cx="946254" cy="946254"/>
                <a:chOff x="3481800" y="2425461"/>
                <a:chExt cx="1027892" cy="1027892"/>
              </a:xfrm>
            </p:grpSpPr>
            <p:sp>
              <p:nvSpPr>
                <p:cNvPr id="46" name="Ellipse 45">
                  <a:extLst>
                    <a:ext uri="{FF2B5EF4-FFF2-40B4-BE49-F238E27FC236}">
                      <a16:creationId xmlns:a16="http://schemas.microsoft.com/office/drawing/2014/main" id="{990BDA6A-AFAE-8482-C303-7B53EB2DEAAE}"/>
                    </a:ext>
                  </a:extLst>
                </p:cNvPr>
                <p:cNvSpPr>
                  <a:spLocks/>
                </p:cNvSpPr>
                <p:nvPr/>
              </p:nvSpPr>
              <p:spPr bwMode="gray">
                <a:xfrm>
                  <a:off x="3481800" y="2425461"/>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sp>
              <p:nvSpPr>
                <p:cNvPr id="60" name="Freeform 175">
                  <a:extLst>
                    <a:ext uri="{FF2B5EF4-FFF2-40B4-BE49-F238E27FC236}">
                      <a16:creationId xmlns:a16="http://schemas.microsoft.com/office/drawing/2014/main" id="{4275A7EA-301A-C78B-81FE-5482E32BB3F4}"/>
                    </a:ext>
                  </a:extLst>
                </p:cNvPr>
                <p:cNvSpPr>
                  <a:spLocks noEditPoints="1"/>
                </p:cNvSpPr>
                <p:nvPr>
                  <p:custDataLst>
                    <p:tags r:id="rId4"/>
                  </p:custDataLst>
                </p:nvPr>
              </p:nvSpPr>
              <p:spPr bwMode="auto">
                <a:xfrm>
                  <a:off x="3717430" y="2738957"/>
                  <a:ext cx="556632" cy="400899"/>
                </a:xfrm>
                <a:custGeom>
                  <a:avLst/>
                  <a:gdLst>
                    <a:gd name="T0" fmla="*/ 442 w 3552"/>
                    <a:gd name="T1" fmla="*/ 1818 h 2570"/>
                    <a:gd name="T2" fmla="*/ 658 w 3552"/>
                    <a:gd name="T3" fmla="*/ 1847 h 2570"/>
                    <a:gd name="T4" fmla="*/ 698 w 3552"/>
                    <a:gd name="T5" fmla="*/ 2061 h 2570"/>
                    <a:gd name="T6" fmla="*/ 890 w 3552"/>
                    <a:gd name="T7" fmla="*/ 1958 h 2570"/>
                    <a:gd name="T8" fmla="*/ 1048 w 3552"/>
                    <a:gd name="T9" fmla="*/ 2108 h 2570"/>
                    <a:gd name="T10" fmla="*/ 1143 w 3552"/>
                    <a:gd name="T11" fmla="*/ 1911 h 2570"/>
                    <a:gd name="T12" fmla="*/ 1359 w 3552"/>
                    <a:gd name="T13" fmla="*/ 1940 h 2570"/>
                    <a:gd name="T14" fmla="*/ 1320 w 3552"/>
                    <a:gd name="T15" fmla="*/ 1725 h 2570"/>
                    <a:gd name="T16" fmla="*/ 1353 w 3552"/>
                    <a:gd name="T17" fmla="*/ 1621 h 2570"/>
                    <a:gd name="T18" fmla="*/ 1512 w 3552"/>
                    <a:gd name="T19" fmla="*/ 1470 h 2570"/>
                    <a:gd name="T20" fmla="*/ 1320 w 3552"/>
                    <a:gd name="T21" fmla="*/ 1367 h 2570"/>
                    <a:gd name="T22" fmla="*/ 1359 w 3552"/>
                    <a:gd name="T23" fmla="*/ 1151 h 2570"/>
                    <a:gd name="T24" fmla="*/ 1143 w 3552"/>
                    <a:gd name="T25" fmla="*/ 1180 h 2570"/>
                    <a:gd name="T26" fmla="*/ 1048 w 3552"/>
                    <a:gd name="T27" fmla="*/ 983 h 2570"/>
                    <a:gd name="T28" fmla="*/ 890 w 3552"/>
                    <a:gd name="T29" fmla="*/ 1133 h 2570"/>
                    <a:gd name="T30" fmla="*/ 698 w 3552"/>
                    <a:gd name="T31" fmla="*/ 1030 h 2570"/>
                    <a:gd name="T32" fmla="*/ 658 w 3552"/>
                    <a:gd name="T33" fmla="*/ 1244 h 2570"/>
                    <a:gd name="T34" fmla="*/ 442 w 3552"/>
                    <a:gd name="T35" fmla="*/ 1274 h 2570"/>
                    <a:gd name="T36" fmla="*/ 549 w 3552"/>
                    <a:gd name="T37" fmla="*/ 1417 h 2570"/>
                    <a:gd name="T38" fmla="*/ 378 w 3552"/>
                    <a:gd name="T39" fmla="*/ 1470 h 2570"/>
                    <a:gd name="T40" fmla="*/ 536 w 3552"/>
                    <a:gd name="T41" fmla="*/ 1621 h 2570"/>
                    <a:gd name="T42" fmla="*/ 765 w 3552"/>
                    <a:gd name="T43" fmla="*/ 1487 h 2570"/>
                    <a:gd name="T44" fmla="*/ 1124 w 3552"/>
                    <a:gd name="T45" fmla="*/ 1604 h 2570"/>
                    <a:gd name="T46" fmla="*/ 765 w 3552"/>
                    <a:gd name="T47" fmla="*/ 1487 h 2570"/>
                    <a:gd name="T48" fmla="*/ 1342 w 3552"/>
                    <a:gd name="T49" fmla="*/ 895 h 2570"/>
                    <a:gd name="T50" fmla="*/ 1537 w 3552"/>
                    <a:gd name="T51" fmla="*/ 913 h 2570"/>
                    <a:gd name="T52" fmla="*/ 1587 w 3552"/>
                    <a:gd name="T53" fmla="*/ 1059 h 2570"/>
                    <a:gd name="T54" fmla="*/ 1738 w 3552"/>
                    <a:gd name="T55" fmla="*/ 934 h 2570"/>
                    <a:gd name="T56" fmla="*/ 1877 w 3552"/>
                    <a:gd name="T57" fmla="*/ 1001 h 2570"/>
                    <a:gd name="T58" fmla="*/ 1895 w 3552"/>
                    <a:gd name="T59" fmla="*/ 807 h 2570"/>
                    <a:gd name="T60" fmla="*/ 2041 w 3552"/>
                    <a:gd name="T61" fmla="*/ 756 h 2570"/>
                    <a:gd name="T62" fmla="*/ 1916 w 3552"/>
                    <a:gd name="T63" fmla="*/ 605 h 2570"/>
                    <a:gd name="T64" fmla="*/ 1983 w 3552"/>
                    <a:gd name="T65" fmla="*/ 467 h 2570"/>
                    <a:gd name="T66" fmla="*/ 1789 w 3552"/>
                    <a:gd name="T67" fmla="*/ 448 h 2570"/>
                    <a:gd name="T68" fmla="*/ 1738 w 3552"/>
                    <a:gd name="T69" fmla="*/ 303 h 2570"/>
                    <a:gd name="T70" fmla="*/ 1587 w 3552"/>
                    <a:gd name="T71" fmla="*/ 427 h 2570"/>
                    <a:gd name="T72" fmla="*/ 1449 w 3552"/>
                    <a:gd name="T73" fmla="*/ 360 h 2570"/>
                    <a:gd name="T74" fmla="*/ 1430 w 3552"/>
                    <a:gd name="T75" fmla="*/ 555 h 2570"/>
                    <a:gd name="T76" fmla="*/ 1285 w 3552"/>
                    <a:gd name="T77" fmla="*/ 605 h 2570"/>
                    <a:gd name="T78" fmla="*/ 1409 w 3552"/>
                    <a:gd name="T79" fmla="*/ 756 h 2570"/>
                    <a:gd name="T80" fmla="*/ 1661 w 3552"/>
                    <a:gd name="T81" fmla="*/ 565 h 2570"/>
                    <a:gd name="T82" fmla="*/ 1664 w 3552"/>
                    <a:gd name="T83" fmla="*/ 796 h 2570"/>
                    <a:gd name="T84" fmla="*/ 1661 w 3552"/>
                    <a:gd name="T85" fmla="*/ 565 h 2570"/>
                    <a:gd name="T86" fmla="*/ 2298 w 3552"/>
                    <a:gd name="T87" fmla="*/ 1114 h 2570"/>
                    <a:gd name="T88" fmla="*/ 2177 w 3552"/>
                    <a:gd name="T89" fmla="*/ 832 h 2570"/>
                    <a:gd name="T90" fmla="*/ 2339 w 3552"/>
                    <a:gd name="T91" fmla="*/ 832 h 2570"/>
                    <a:gd name="T92" fmla="*/ 2555 w 3552"/>
                    <a:gd name="T93" fmla="*/ 1291 h 2570"/>
                    <a:gd name="T94" fmla="*/ 3115 w 3552"/>
                    <a:gd name="T95" fmla="*/ 1851 h 2570"/>
                    <a:gd name="T96" fmla="*/ 2975 w 3552"/>
                    <a:gd name="T97" fmla="*/ 2193 h 2570"/>
                    <a:gd name="T98" fmla="*/ 2833 w 3552"/>
                    <a:gd name="T99" fmla="*/ 2134 h 2570"/>
                    <a:gd name="T100" fmla="*/ 2031 w 3552"/>
                    <a:gd name="T101" fmla="*/ 1573 h 2570"/>
                    <a:gd name="T102" fmla="*/ 1814 w 3552"/>
                    <a:gd name="T103" fmla="*/ 1195 h 2570"/>
                    <a:gd name="T104" fmla="*/ 1895 w 3552"/>
                    <a:gd name="T105" fmla="*/ 1114 h 2570"/>
                    <a:gd name="T106" fmla="*/ 2298 w 3552"/>
                    <a:gd name="T107" fmla="*/ 1316 h 2570"/>
                    <a:gd name="T108" fmla="*/ 0 w 3552"/>
                    <a:gd name="T109" fmla="*/ 2570 h 2570"/>
                    <a:gd name="T110" fmla="*/ 3552 w 3552"/>
                    <a:gd name="T111" fmla="*/ 0 h 2570"/>
                    <a:gd name="T112" fmla="*/ 3401 w 3552"/>
                    <a:gd name="T113" fmla="*/ 2419 h 2570"/>
                    <a:gd name="T114" fmla="*/ 151 w 3552"/>
                    <a:gd name="T115" fmla="*/ 152 h 2570"/>
                    <a:gd name="T116" fmla="*/ 3401 w 3552"/>
                    <a:gd name="T117" fmla="*/ 2419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52" h="2570">
                      <a:moveTo>
                        <a:pt x="570" y="1725"/>
                      </a:moveTo>
                      <a:cubicBezTo>
                        <a:pt x="442" y="1818"/>
                        <a:pt x="442" y="1818"/>
                        <a:pt x="442" y="1818"/>
                      </a:cubicBezTo>
                      <a:cubicBezTo>
                        <a:pt x="530" y="1940"/>
                        <a:pt x="530" y="1940"/>
                        <a:pt x="530" y="1940"/>
                      </a:cubicBezTo>
                      <a:cubicBezTo>
                        <a:pt x="658" y="1847"/>
                        <a:pt x="658" y="1847"/>
                        <a:pt x="658" y="1847"/>
                      </a:cubicBezTo>
                      <a:cubicBezTo>
                        <a:pt x="684" y="1872"/>
                        <a:pt x="714" y="1893"/>
                        <a:pt x="746" y="1911"/>
                      </a:cubicBezTo>
                      <a:cubicBezTo>
                        <a:pt x="698" y="2061"/>
                        <a:pt x="698" y="2061"/>
                        <a:pt x="698" y="2061"/>
                      </a:cubicBezTo>
                      <a:cubicBezTo>
                        <a:pt x="841" y="2108"/>
                        <a:pt x="841" y="2108"/>
                        <a:pt x="841" y="2108"/>
                      </a:cubicBezTo>
                      <a:cubicBezTo>
                        <a:pt x="890" y="1958"/>
                        <a:pt x="890" y="1958"/>
                        <a:pt x="890" y="1958"/>
                      </a:cubicBezTo>
                      <a:cubicBezTo>
                        <a:pt x="927" y="1963"/>
                        <a:pt x="963" y="1963"/>
                        <a:pt x="999" y="1958"/>
                      </a:cubicBezTo>
                      <a:cubicBezTo>
                        <a:pt x="1048" y="2108"/>
                        <a:pt x="1048" y="2108"/>
                        <a:pt x="1048" y="2108"/>
                      </a:cubicBezTo>
                      <a:cubicBezTo>
                        <a:pt x="1192" y="2061"/>
                        <a:pt x="1192" y="2061"/>
                        <a:pt x="1192" y="2061"/>
                      </a:cubicBezTo>
                      <a:cubicBezTo>
                        <a:pt x="1143" y="1911"/>
                        <a:pt x="1143" y="1911"/>
                        <a:pt x="1143" y="1911"/>
                      </a:cubicBezTo>
                      <a:cubicBezTo>
                        <a:pt x="1175" y="1894"/>
                        <a:pt x="1204" y="1872"/>
                        <a:pt x="1231" y="1847"/>
                      </a:cubicBezTo>
                      <a:cubicBezTo>
                        <a:pt x="1359" y="1940"/>
                        <a:pt x="1359" y="1940"/>
                        <a:pt x="1359" y="1940"/>
                      </a:cubicBezTo>
                      <a:cubicBezTo>
                        <a:pt x="1448" y="1818"/>
                        <a:pt x="1448" y="1818"/>
                        <a:pt x="1448" y="1818"/>
                      </a:cubicBezTo>
                      <a:cubicBezTo>
                        <a:pt x="1320" y="1725"/>
                        <a:pt x="1320" y="1725"/>
                        <a:pt x="1320" y="1725"/>
                      </a:cubicBezTo>
                      <a:cubicBezTo>
                        <a:pt x="1327" y="1708"/>
                        <a:pt x="1334" y="1692"/>
                        <a:pt x="1340" y="1674"/>
                      </a:cubicBezTo>
                      <a:cubicBezTo>
                        <a:pt x="1346" y="1657"/>
                        <a:pt x="1350" y="1639"/>
                        <a:pt x="1353" y="1621"/>
                      </a:cubicBezTo>
                      <a:cubicBezTo>
                        <a:pt x="1512" y="1621"/>
                        <a:pt x="1512" y="1621"/>
                        <a:pt x="1512" y="1621"/>
                      </a:cubicBezTo>
                      <a:cubicBezTo>
                        <a:pt x="1512" y="1470"/>
                        <a:pt x="1512" y="1470"/>
                        <a:pt x="1512" y="1470"/>
                      </a:cubicBezTo>
                      <a:cubicBezTo>
                        <a:pt x="1354" y="1470"/>
                        <a:pt x="1354" y="1470"/>
                        <a:pt x="1354" y="1470"/>
                      </a:cubicBezTo>
                      <a:cubicBezTo>
                        <a:pt x="1347" y="1434"/>
                        <a:pt x="1335" y="1399"/>
                        <a:pt x="1320" y="1367"/>
                      </a:cubicBezTo>
                      <a:cubicBezTo>
                        <a:pt x="1448" y="1274"/>
                        <a:pt x="1448" y="1274"/>
                        <a:pt x="1448" y="1274"/>
                      </a:cubicBezTo>
                      <a:cubicBezTo>
                        <a:pt x="1359" y="1151"/>
                        <a:pt x="1359" y="1151"/>
                        <a:pt x="1359" y="1151"/>
                      </a:cubicBezTo>
                      <a:cubicBezTo>
                        <a:pt x="1231" y="1244"/>
                        <a:pt x="1231" y="1244"/>
                        <a:pt x="1231" y="1244"/>
                      </a:cubicBezTo>
                      <a:cubicBezTo>
                        <a:pt x="1205" y="1219"/>
                        <a:pt x="1175" y="1198"/>
                        <a:pt x="1143" y="1180"/>
                      </a:cubicBezTo>
                      <a:cubicBezTo>
                        <a:pt x="1192" y="1030"/>
                        <a:pt x="1192" y="1030"/>
                        <a:pt x="1192" y="1030"/>
                      </a:cubicBezTo>
                      <a:cubicBezTo>
                        <a:pt x="1048" y="983"/>
                        <a:pt x="1048" y="983"/>
                        <a:pt x="1048" y="983"/>
                      </a:cubicBezTo>
                      <a:cubicBezTo>
                        <a:pt x="999" y="1133"/>
                        <a:pt x="999" y="1133"/>
                        <a:pt x="999" y="1133"/>
                      </a:cubicBezTo>
                      <a:cubicBezTo>
                        <a:pt x="962" y="1129"/>
                        <a:pt x="926" y="1129"/>
                        <a:pt x="890" y="1133"/>
                      </a:cubicBezTo>
                      <a:cubicBezTo>
                        <a:pt x="841" y="983"/>
                        <a:pt x="841" y="983"/>
                        <a:pt x="841" y="983"/>
                      </a:cubicBezTo>
                      <a:cubicBezTo>
                        <a:pt x="698" y="1030"/>
                        <a:pt x="698" y="1030"/>
                        <a:pt x="698" y="1030"/>
                      </a:cubicBezTo>
                      <a:cubicBezTo>
                        <a:pt x="746" y="1180"/>
                        <a:pt x="746" y="1180"/>
                        <a:pt x="746" y="1180"/>
                      </a:cubicBezTo>
                      <a:cubicBezTo>
                        <a:pt x="715" y="1198"/>
                        <a:pt x="685" y="1219"/>
                        <a:pt x="658" y="1244"/>
                      </a:cubicBezTo>
                      <a:cubicBezTo>
                        <a:pt x="530" y="1151"/>
                        <a:pt x="530" y="1151"/>
                        <a:pt x="530" y="1151"/>
                      </a:cubicBezTo>
                      <a:cubicBezTo>
                        <a:pt x="442" y="1274"/>
                        <a:pt x="442" y="1274"/>
                        <a:pt x="442" y="1274"/>
                      </a:cubicBezTo>
                      <a:cubicBezTo>
                        <a:pt x="570" y="1367"/>
                        <a:pt x="570" y="1367"/>
                        <a:pt x="570" y="1367"/>
                      </a:cubicBezTo>
                      <a:cubicBezTo>
                        <a:pt x="562" y="1383"/>
                        <a:pt x="555" y="1400"/>
                        <a:pt x="549" y="1417"/>
                      </a:cubicBezTo>
                      <a:cubicBezTo>
                        <a:pt x="544" y="1435"/>
                        <a:pt x="539" y="1452"/>
                        <a:pt x="536" y="1470"/>
                      </a:cubicBezTo>
                      <a:cubicBezTo>
                        <a:pt x="378" y="1470"/>
                        <a:pt x="378" y="1470"/>
                        <a:pt x="378" y="1470"/>
                      </a:cubicBezTo>
                      <a:cubicBezTo>
                        <a:pt x="378" y="1621"/>
                        <a:pt x="378" y="1621"/>
                        <a:pt x="378" y="1621"/>
                      </a:cubicBezTo>
                      <a:cubicBezTo>
                        <a:pt x="536" y="1621"/>
                        <a:pt x="536" y="1621"/>
                        <a:pt x="536" y="1621"/>
                      </a:cubicBezTo>
                      <a:cubicBezTo>
                        <a:pt x="542" y="1657"/>
                        <a:pt x="554" y="1692"/>
                        <a:pt x="570" y="1725"/>
                      </a:cubicBezTo>
                      <a:close/>
                      <a:moveTo>
                        <a:pt x="765" y="1487"/>
                      </a:moveTo>
                      <a:cubicBezTo>
                        <a:pt x="797" y="1388"/>
                        <a:pt x="904" y="1334"/>
                        <a:pt x="1003" y="1366"/>
                      </a:cubicBezTo>
                      <a:cubicBezTo>
                        <a:pt x="1102" y="1398"/>
                        <a:pt x="1157" y="1505"/>
                        <a:pt x="1124" y="1604"/>
                      </a:cubicBezTo>
                      <a:cubicBezTo>
                        <a:pt x="1092" y="1703"/>
                        <a:pt x="985" y="1758"/>
                        <a:pt x="886" y="1725"/>
                      </a:cubicBezTo>
                      <a:cubicBezTo>
                        <a:pt x="787" y="1693"/>
                        <a:pt x="733" y="1586"/>
                        <a:pt x="765" y="1487"/>
                      </a:cubicBezTo>
                      <a:close/>
                      <a:moveTo>
                        <a:pt x="1430" y="807"/>
                      </a:moveTo>
                      <a:cubicBezTo>
                        <a:pt x="1342" y="895"/>
                        <a:pt x="1342" y="895"/>
                        <a:pt x="1342" y="895"/>
                      </a:cubicBezTo>
                      <a:cubicBezTo>
                        <a:pt x="1449" y="1001"/>
                        <a:pt x="1449" y="1001"/>
                        <a:pt x="1449" y="1001"/>
                      </a:cubicBezTo>
                      <a:cubicBezTo>
                        <a:pt x="1537" y="913"/>
                        <a:pt x="1537" y="913"/>
                        <a:pt x="1537" y="913"/>
                      </a:cubicBezTo>
                      <a:cubicBezTo>
                        <a:pt x="1553" y="922"/>
                        <a:pt x="1570" y="929"/>
                        <a:pt x="1587" y="934"/>
                      </a:cubicBezTo>
                      <a:cubicBezTo>
                        <a:pt x="1587" y="1059"/>
                        <a:pt x="1587" y="1059"/>
                        <a:pt x="1587" y="1059"/>
                      </a:cubicBezTo>
                      <a:cubicBezTo>
                        <a:pt x="1738" y="1059"/>
                        <a:pt x="1738" y="1059"/>
                        <a:pt x="1738" y="1059"/>
                      </a:cubicBezTo>
                      <a:cubicBezTo>
                        <a:pt x="1738" y="934"/>
                        <a:pt x="1738" y="934"/>
                        <a:pt x="1738" y="934"/>
                      </a:cubicBezTo>
                      <a:cubicBezTo>
                        <a:pt x="1756" y="929"/>
                        <a:pt x="1773" y="922"/>
                        <a:pt x="1789" y="913"/>
                      </a:cubicBezTo>
                      <a:cubicBezTo>
                        <a:pt x="1877" y="1001"/>
                        <a:pt x="1877" y="1001"/>
                        <a:pt x="1877" y="1001"/>
                      </a:cubicBezTo>
                      <a:cubicBezTo>
                        <a:pt x="1983" y="895"/>
                        <a:pt x="1983" y="895"/>
                        <a:pt x="1983" y="895"/>
                      </a:cubicBezTo>
                      <a:cubicBezTo>
                        <a:pt x="1895" y="807"/>
                        <a:pt x="1895" y="807"/>
                        <a:pt x="1895" y="807"/>
                      </a:cubicBezTo>
                      <a:cubicBezTo>
                        <a:pt x="1904" y="791"/>
                        <a:pt x="1911" y="774"/>
                        <a:pt x="1916" y="756"/>
                      </a:cubicBezTo>
                      <a:cubicBezTo>
                        <a:pt x="2041" y="756"/>
                        <a:pt x="2041" y="756"/>
                        <a:pt x="2041" y="756"/>
                      </a:cubicBezTo>
                      <a:cubicBezTo>
                        <a:pt x="2041" y="605"/>
                        <a:pt x="2041" y="605"/>
                        <a:pt x="2041" y="605"/>
                      </a:cubicBezTo>
                      <a:cubicBezTo>
                        <a:pt x="1916" y="605"/>
                        <a:pt x="1916" y="605"/>
                        <a:pt x="1916" y="605"/>
                      </a:cubicBezTo>
                      <a:cubicBezTo>
                        <a:pt x="1911" y="588"/>
                        <a:pt x="1904" y="571"/>
                        <a:pt x="1895" y="555"/>
                      </a:cubicBezTo>
                      <a:cubicBezTo>
                        <a:pt x="1983" y="467"/>
                        <a:pt x="1983" y="467"/>
                        <a:pt x="1983" y="467"/>
                      </a:cubicBezTo>
                      <a:cubicBezTo>
                        <a:pt x="1877" y="360"/>
                        <a:pt x="1877" y="360"/>
                        <a:pt x="1877" y="360"/>
                      </a:cubicBezTo>
                      <a:cubicBezTo>
                        <a:pt x="1789" y="448"/>
                        <a:pt x="1789" y="448"/>
                        <a:pt x="1789" y="448"/>
                      </a:cubicBezTo>
                      <a:cubicBezTo>
                        <a:pt x="1773" y="439"/>
                        <a:pt x="1756" y="432"/>
                        <a:pt x="1738" y="427"/>
                      </a:cubicBezTo>
                      <a:cubicBezTo>
                        <a:pt x="1738" y="303"/>
                        <a:pt x="1738" y="303"/>
                        <a:pt x="1738" y="303"/>
                      </a:cubicBezTo>
                      <a:cubicBezTo>
                        <a:pt x="1587" y="303"/>
                        <a:pt x="1587" y="303"/>
                        <a:pt x="1587" y="303"/>
                      </a:cubicBezTo>
                      <a:cubicBezTo>
                        <a:pt x="1587" y="427"/>
                        <a:pt x="1587" y="427"/>
                        <a:pt x="1587" y="427"/>
                      </a:cubicBezTo>
                      <a:cubicBezTo>
                        <a:pt x="1570" y="432"/>
                        <a:pt x="1553" y="439"/>
                        <a:pt x="1537" y="448"/>
                      </a:cubicBezTo>
                      <a:cubicBezTo>
                        <a:pt x="1449" y="360"/>
                        <a:pt x="1449" y="360"/>
                        <a:pt x="1449" y="360"/>
                      </a:cubicBezTo>
                      <a:cubicBezTo>
                        <a:pt x="1342" y="467"/>
                        <a:pt x="1342" y="467"/>
                        <a:pt x="1342" y="467"/>
                      </a:cubicBezTo>
                      <a:cubicBezTo>
                        <a:pt x="1430" y="555"/>
                        <a:pt x="1430" y="555"/>
                        <a:pt x="1430" y="555"/>
                      </a:cubicBezTo>
                      <a:cubicBezTo>
                        <a:pt x="1421" y="571"/>
                        <a:pt x="1415" y="588"/>
                        <a:pt x="1409" y="605"/>
                      </a:cubicBezTo>
                      <a:cubicBezTo>
                        <a:pt x="1285" y="605"/>
                        <a:pt x="1285" y="605"/>
                        <a:pt x="1285" y="605"/>
                      </a:cubicBezTo>
                      <a:cubicBezTo>
                        <a:pt x="1285" y="756"/>
                        <a:pt x="1285" y="756"/>
                        <a:pt x="1285" y="756"/>
                      </a:cubicBezTo>
                      <a:cubicBezTo>
                        <a:pt x="1409" y="756"/>
                        <a:pt x="1409" y="756"/>
                        <a:pt x="1409" y="756"/>
                      </a:cubicBezTo>
                      <a:cubicBezTo>
                        <a:pt x="1415" y="774"/>
                        <a:pt x="1421" y="791"/>
                        <a:pt x="1430" y="807"/>
                      </a:cubicBezTo>
                      <a:close/>
                      <a:moveTo>
                        <a:pt x="1661" y="565"/>
                      </a:moveTo>
                      <a:cubicBezTo>
                        <a:pt x="1725" y="565"/>
                        <a:pt x="1777" y="616"/>
                        <a:pt x="1778" y="679"/>
                      </a:cubicBezTo>
                      <a:cubicBezTo>
                        <a:pt x="1779" y="743"/>
                        <a:pt x="1728" y="795"/>
                        <a:pt x="1664" y="796"/>
                      </a:cubicBezTo>
                      <a:cubicBezTo>
                        <a:pt x="1601" y="797"/>
                        <a:pt x="1548" y="746"/>
                        <a:pt x="1547" y="682"/>
                      </a:cubicBezTo>
                      <a:cubicBezTo>
                        <a:pt x="1547" y="618"/>
                        <a:pt x="1598" y="566"/>
                        <a:pt x="1661" y="565"/>
                      </a:cubicBezTo>
                      <a:close/>
                      <a:moveTo>
                        <a:pt x="2298" y="1316"/>
                      </a:moveTo>
                      <a:cubicBezTo>
                        <a:pt x="2298" y="1114"/>
                        <a:pt x="2298" y="1114"/>
                        <a:pt x="2298" y="1114"/>
                      </a:cubicBezTo>
                      <a:cubicBezTo>
                        <a:pt x="2096" y="913"/>
                        <a:pt x="2096" y="913"/>
                        <a:pt x="2096" y="913"/>
                      </a:cubicBezTo>
                      <a:cubicBezTo>
                        <a:pt x="2177" y="832"/>
                        <a:pt x="2177" y="832"/>
                        <a:pt x="2177" y="832"/>
                      </a:cubicBezTo>
                      <a:cubicBezTo>
                        <a:pt x="2177" y="832"/>
                        <a:pt x="2177" y="832"/>
                        <a:pt x="2177" y="832"/>
                      </a:cubicBezTo>
                      <a:cubicBezTo>
                        <a:pt x="2339" y="832"/>
                        <a:pt x="2339" y="832"/>
                        <a:pt x="2339" y="832"/>
                      </a:cubicBezTo>
                      <a:cubicBezTo>
                        <a:pt x="2555" y="1049"/>
                        <a:pt x="2555" y="1049"/>
                        <a:pt x="2555" y="1049"/>
                      </a:cubicBezTo>
                      <a:cubicBezTo>
                        <a:pt x="2555" y="1291"/>
                        <a:pt x="2555" y="1291"/>
                        <a:pt x="2555" y="1291"/>
                      </a:cubicBezTo>
                      <a:cubicBezTo>
                        <a:pt x="3115" y="1851"/>
                        <a:pt x="3115" y="1851"/>
                        <a:pt x="3115" y="1851"/>
                      </a:cubicBezTo>
                      <a:cubicBezTo>
                        <a:pt x="3115" y="1851"/>
                        <a:pt x="3115" y="1851"/>
                        <a:pt x="3115" y="1851"/>
                      </a:cubicBezTo>
                      <a:cubicBezTo>
                        <a:pt x="3152" y="1887"/>
                        <a:pt x="3175" y="1937"/>
                        <a:pt x="3175" y="1993"/>
                      </a:cubicBezTo>
                      <a:cubicBezTo>
                        <a:pt x="3175" y="2103"/>
                        <a:pt x="3085" y="2193"/>
                        <a:pt x="2975" y="2193"/>
                      </a:cubicBezTo>
                      <a:cubicBezTo>
                        <a:pt x="2919" y="2193"/>
                        <a:pt x="2869" y="2170"/>
                        <a:pt x="2833" y="2134"/>
                      </a:cubicBezTo>
                      <a:cubicBezTo>
                        <a:pt x="2833" y="2134"/>
                        <a:pt x="2833" y="2134"/>
                        <a:pt x="2833" y="2134"/>
                      </a:cubicBezTo>
                      <a:cubicBezTo>
                        <a:pt x="2273" y="1573"/>
                        <a:pt x="2273" y="1573"/>
                        <a:pt x="2273" y="1573"/>
                      </a:cubicBezTo>
                      <a:cubicBezTo>
                        <a:pt x="2031" y="1573"/>
                        <a:pt x="2031" y="1573"/>
                        <a:pt x="2031" y="1573"/>
                      </a:cubicBezTo>
                      <a:cubicBezTo>
                        <a:pt x="1814" y="1357"/>
                        <a:pt x="1814" y="1357"/>
                        <a:pt x="1814" y="1357"/>
                      </a:cubicBezTo>
                      <a:cubicBezTo>
                        <a:pt x="1814" y="1195"/>
                        <a:pt x="1814" y="1195"/>
                        <a:pt x="1814" y="1195"/>
                      </a:cubicBezTo>
                      <a:cubicBezTo>
                        <a:pt x="1814" y="1195"/>
                        <a:pt x="1814" y="1195"/>
                        <a:pt x="1814" y="1195"/>
                      </a:cubicBezTo>
                      <a:cubicBezTo>
                        <a:pt x="1895" y="1114"/>
                        <a:pt x="1895" y="1114"/>
                        <a:pt x="1895" y="1114"/>
                      </a:cubicBezTo>
                      <a:cubicBezTo>
                        <a:pt x="2096" y="1316"/>
                        <a:pt x="2096" y="1316"/>
                        <a:pt x="2096" y="1316"/>
                      </a:cubicBezTo>
                      <a:lnTo>
                        <a:pt x="2298" y="1316"/>
                      </a:lnTo>
                      <a:close/>
                      <a:moveTo>
                        <a:pt x="0" y="0"/>
                      </a:moveTo>
                      <a:cubicBezTo>
                        <a:pt x="0" y="2570"/>
                        <a:pt x="0" y="2570"/>
                        <a:pt x="0" y="2570"/>
                      </a:cubicBezTo>
                      <a:cubicBezTo>
                        <a:pt x="3552" y="2570"/>
                        <a:pt x="3552" y="2570"/>
                        <a:pt x="3552" y="2570"/>
                      </a:cubicBezTo>
                      <a:cubicBezTo>
                        <a:pt x="3552" y="0"/>
                        <a:pt x="3552" y="0"/>
                        <a:pt x="3552" y="0"/>
                      </a:cubicBezTo>
                      <a:lnTo>
                        <a:pt x="0" y="0"/>
                      </a:lnTo>
                      <a:close/>
                      <a:moveTo>
                        <a:pt x="3401" y="2419"/>
                      </a:moveTo>
                      <a:cubicBezTo>
                        <a:pt x="151" y="2419"/>
                        <a:pt x="151" y="2419"/>
                        <a:pt x="151" y="2419"/>
                      </a:cubicBezTo>
                      <a:cubicBezTo>
                        <a:pt x="151" y="152"/>
                        <a:pt x="151" y="152"/>
                        <a:pt x="151" y="152"/>
                      </a:cubicBezTo>
                      <a:cubicBezTo>
                        <a:pt x="3401" y="152"/>
                        <a:pt x="3401" y="152"/>
                        <a:pt x="3401" y="152"/>
                      </a:cubicBezTo>
                      <a:lnTo>
                        <a:pt x="3401" y="241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2000" b="0" i="0" u="none" strike="noStrike" kern="0" cap="none" spc="0" normalizeH="0" baseline="0" noProof="0">
                    <a:ln>
                      <a:noFill/>
                    </a:ln>
                    <a:solidFill>
                      <a:srgbClr val="ADBECB"/>
                    </a:solidFill>
                    <a:effectLst/>
                    <a:uLnTx/>
                    <a:uFillTx/>
                    <a:ea typeface="ＭＳ Ｐゴシック" charset="-128"/>
                  </a:endParaRPr>
                </a:p>
              </p:txBody>
            </p:sp>
          </p:grpSp>
          <p:grpSp>
            <p:nvGrpSpPr>
              <p:cNvPr id="12" name="Gruppieren 11">
                <a:extLst>
                  <a:ext uri="{FF2B5EF4-FFF2-40B4-BE49-F238E27FC236}">
                    <a16:creationId xmlns:a16="http://schemas.microsoft.com/office/drawing/2014/main" id="{E11F4C38-DD1C-41E2-306D-008CE6D61DA0}"/>
                  </a:ext>
                </a:extLst>
              </p:cNvPr>
              <p:cNvGrpSpPr>
                <a:grpSpLocks/>
              </p:cNvGrpSpPr>
              <p:nvPr/>
            </p:nvGrpSpPr>
            <p:grpSpPr>
              <a:xfrm>
                <a:off x="7330418" y="2979076"/>
                <a:ext cx="946254" cy="946254"/>
                <a:chOff x="7911678" y="3381118"/>
                <a:chExt cx="1027892" cy="1027892"/>
              </a:xfrm>
            </p:grpSpPr>
            <p:sp>
              <p:nvSpPr>
                <p:cNvPr id="31" name="Ellipse 30">
                  <a:extLst>
                    <a:ext uri="{FF2B5EF4-FFF2-40B4-BE49-F238E27FC236}">
                      <a16:creationId xmlns:a16="http://schemas.microsoft.com/office/drawing/2014/main" id="{B3F7D08C-F11A-2581-3E33-23483A6DDF9F}"/>
                    </a:ext>
                  </a:extLst>
                </p:cNvPr>
                <p:cNvSpPr>
                  <a:spLocks/>
                </p:cNvSpPr>
                <p:nvPr/>
              </p:nvSpPr>
              <p:spPr bwMode="gray">
                <a:xfrm>
                  <a:off x="7911678" y="3381118"/>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sp>
              <p:nvSpPr>
                <p:cNvPr id="53" name="Freihandform: Form 52">
                  <a:extLst>
                    <a:ext uri="{FF2B5EF4-FFF2-40B4-BE49-F238E27FC236}">
                      <a16:creationId xmlns:a16="http://schemas.microsoft.com/office/drawing/2014/main" id="{78E70227-96E3-6944-E143-5B78A5C66164}"/>
                    </a:ext>
                  </a:extLst>
                </p:cNvPr>
                <p:cNvSpPr>
                  <a:spLocks/>
                </p:cNvSpPr>
                <p:nvPr/>
              </p:nvSpPr>
              <p:spPr>
                <a:xfrm>
                  <a:off x="8145398" y="3614838"/>
                  <a:ext cx="560452" cy="560452"/>
                </a:xfrm>
                <a:custGeom>
                  <a:avLst/>
                  <a:gdLst>
                    <a:gd name="connsiteX0" fmla="*/ 564147 w 1128239"/>
                    <a:gd name="connsiteY0" fmla="*/ 0 h 1128239"/>
                    <a:gd name="connsiteX1" fmla="*/ 546720 w 1128239"/>
                    <a:gd name="connsiteY1" fmla="*/ 484 h 1128239"/>
                    <a:gd name="connsiteX2" fmla="*/ 159794 w 1128239"/>
                    <a:gd name="connsiteY2" fmla="*/ 171412 h 1128239"/>
                    <a:gd name="connsiteX3" fmla="*/ 0 w 1128239"/>
                    <a:gd name="connsiteY3" fmla="*/ 564093 h 1128239"/>
                    <a:gd name="connsiteX4" fmla="*/ 159794 w 1128239"/>
                    <a:gd name="connsiteY4" fmla="*/ 956989 h 1128239"/>
                    <a:gd name="connsiteX5" fmla="*/ 545860 w 1128239"/>
                    <a:gd name="connsiteY5" fmla="*/ 1127756 h 1128239"/>
                    <a:gd name="connsiteX6" fmla="*/ 564147 w 1128239"/>
                    <a:gd name="connsiteY6" fmla="*/ 1128240 h 1128239"/>
                    <a:gd name="connsiteX7" fmla="*/ 842805 w 1128239"/>
                    <a:gd name="connsiteY7" fmla="*/ 1054447 h 1128239"/>
                    <a:gd name="connsiteX8" fmla="*/ 1038850 w 1128239"/>
                    <a:gd name="connsiteY8" fmla="*/ 868460 h 1128239"/>
                    <a:gd name="connsiteX9" fmla="*/ 1048370 w 1128239"/>
                    <a:gd name="connsiteY9" fmla="*/ 853777 h 1128239"/>
                    <a:gd name="connsiteX10" fmla="*/ 1128240 w 1128239"/>
                    <a:gd name="connsiteY10" fmla="*/ 564147 h 1128239"/>
                    <a:gd name="connsiteX11" fmla="*/ 564147 w 1128239"/>
                    <a:gd name="connsiteY11" fmla="*/ 0 h 1128239"/>
                    <a:gd name="connsiteX12" fmla="*/ 837265 w 1128239"/>
                    <a:gd name="connsiteY12" fmla="*/ 796227 h 1128239"/>
                    <a:gd name="connsiteX13" fmla="*/ 862652 w 1128239"/>
                    <a:gd name="connsiteY13" fmla="*/ 600398 h 1128239"/>
                    <a:gd name="connsiteX14" fmla="*/ 1054501 w 1128239"/>
                    <a:gd name="connsiteY14" fmla="*/ 600398 h 1128239"/>
                    <a:gd name="connsiteX15" fmla="*/ 997274 w 1128239"/>
                    <a:gd name="connsiteY15" fmla="*/ 796227 h 1128239"/>
                    <a:gd name="connsiteX16" fmla="*/ 837265 w 1128239"/>
                    <a:gd name="connsiteY16" fmla="*/ 796227 h 1128239"/>
                    <a:gd name="connsiteX17" fmla="*/ 738785 w 1128239"/>
                    <a:gd name="connsiteY17" fmla="*/ 868406 h 1128239"/>
                    <a:gd name="connsiteX18" fmla="*/ 715443 w 1128239"/>
                    <a:gd name="connsiteY18" fmla="*/ 921061 h 1128239"/>
                    <a:gd name="connsiteX19" fmla="*/ 600559 w 1128239"/>
                    <a:gd name="connsiteY19" fmla="*/ 1046487 h 1128239"/>
                    <a:gd name="connsiteX20" fmla="*/ 600559 w 1128239"/>
                    <a:gd name="connsiteY20" fmla="*/ 868406 h 1128239"/>
                    <a:gd name="connsiteX21" fmla="*/ 738785 w 1128239"/>
                    <a:gd name="connsiteY21" fmla="*/ 868406 h 1128239"/>
                    <a:gd name="connsiteX22" fmla="*/ 736957 w 1128239"/>
                    <a:gd name="connsiteY22" fmla="*/ 1024328 h 1128239"/>
                    <a:gd name="connsiteX23" fmla="*/ 816773 w 1128239"/>
                    <a:gd name="connsiteY23" fmla="*/ 868460 h 1128239"/>
                    <a:gd name="connsiteX24" fmla="*/ 949836 w 1128239"/>
                    <a:gd name="connsiteY24" fmla="*/ 868460 h 1128239"/>
                    <a:gd name="connsiteX25" fmla="*/ 736957 w 1128239"/>
                    <a:gd name="connsiteY25" fmla="*/ 1024328 h 1128239"/>
                    <a:gd name="connsiteX26" fmla="*/ 600559 w 1128239"/>
                    <a:gd name="connsiteY26" fmla="*/ 796227 h 1128239"/>
                    <a:gd name="connsiteX27" fmla="*/ 600559 w 1128239"/>
                    <a:gd name="connsiteY27" fmla="*/ 600398 h 1128239"/>
                    <a:gd name="connsiteX28" fmla="*/ 789827 w 1128239"/>
                    <a:gd name="connsiteY28" fmla="*/ 600398 h 1128239"/>
                    <a:gd name="connsiteX29" fmla="*/ 761967 w 1128239"/>
                    <a:gd name="connsiteY29" fmla="*/ 796227 h 1128239"/>
                    <a:gd name="connsiteX30" fmla="*/ 600559 w 1128239"/>
                    <a:gd name="connsiteY30" fmla="*/ 796227 h 1128239"/>
                    <a:gd name="connsiteX31" fmla="*/ 600559 w 1128239"/>
                    <a:gd name="connsiteY31" fmla="*/ 527788 h 1128239"/>
                    <a:gd name="connsiteX32" fmla="*/ 600559 w 1128239"/>
                    <a:gd name="connsiteY32" fmla="*/ 334702 h 1128239"/>
                    <a:gd name="connsiteX33" fmla="*/ 762773 w 1128239"/>
                    <a:gd name="connsiteY33" fmla="*/ 334702 h 1128239"/>
                    <a:gd name="connsiteX34" fmla="*/ 789827 w 1128239"/>
                    <a:gd name="connsiteY34" fmla="*/ 527788 h 1128239"/>
                    <a:gd name="connsiteX35" fmla="*/ 600559 w 1128239"/>
                    <a:gd name="connsiteY35" fmla="*/ 527788 h 1128239"/>
                    <a:gd name="connsiteX36" fmla="*/ 600559 w 1128239"/>
                    <a:gd name="connsiteY36" fmla="*/ 262039 h 1128239"/>
                    <a:gd name="connsiteX37" fmla="*/ 600559 w 1128239"/>
                    <a:gd name="connsiteY37" fmla="*/ 81860 h 1128239"/>
                    <a:gd name="connsiteX38" fmla="*/ 715550 w 1128239"/>
                    <a:gd name="connsiteY38" fmla="*/ 207770 h 1128239"/>
                    <a:gd name="connsiteX39" fmla="*/ 739700 w 1128239"/>
                    <a:gd name="connsiteY39" fmla="*/ 262092 h 1128239"/>
                    <a:gd name="connsiteX40" fmla="*/ 600559 w 1128239"/>
                    <a:gd name="connsiteY40" fmla="*/ 262092 h 1128239"/>
                    <a:gd name="connsiteX41" fmla="*/ 817311 w 1128239"/>
                    <a:gd name="connsiteY41" fmla="*/ 262039 h 1128239"/>
                    <a:gd name="connsiteX42" fmla="*/ 736903 w 1128239"/>
                    <a:gd name="connsiteY42" fmla="*/ 103751 h 1128239"/>
                    <a:gd name="connsiteX43" fmla="*/ 951826 w 1128239"/>
                    <a:gd name="connsiteY43" fmla="*/ 262039 h 1128239"/>
                    <a:gd name="connsiteX44" fmla="*/ 817311 w 1128239"/>
                    <a:gd name="connsiteY44" fmla="*/ 262039 h 1128239"/>
                    <a:gd name="connsiteX45" fmla="*/ 1054501 w 1128239"/>
                    <a:gd name="connsiteY45" fmla="*/ 527788 h 1128239"/>
                    <a:gd name="connsiteX46" fmla="*/ 862652 w 1128239"/>
                    <a:gd name="connsiteY46" fmla="*/ 527788 h 1128239"/>
                    <a:gd name="connsiteX47" fmla="*/ 837803 w 1128239"/>
                    <a:gd name="connsiteY47" fmla="*/ 334702 h 1128239"/>
                    <a:gd name="connsiteX48" fmla="*/ 998619 w 1128239"/>
                    <a:gd name="connsiteY48" fmla="*/ 334702 h 1128239"/>
                    <a:gd name="connsiteX49" fmla="*/ 1054501 w 1128239"/>
                    <a:gd name="connsiteY49" fmla="*/ 527788 h 1128239"/>
                    <a:gd name="connsiteX50" fmla="*/ 527788 w 1128239"/>
                    <a:gd name="connsiteY50" fmla="*/ 868406 h 1128239"/>
                    <a:gd name="connsiteX51" fmla="*/ 527788 w 1128239"/>
                    <a:gd name="connsiteY51" fmla="*/ 1051704 h 1128239"/>
                    <a:gd name="connsiteX52" fmla="*/ 397845 w 1128239"/>
                    <a:gd name="connsiteY52" fmla="*/ 921115 h 1128239"/>
                    <a:gd name="connsiteX53" fmla="*/ 374341 w 1128239"/>
                    <a:gd name="connsiteY53" fmla="*/ 868406 h 1128239"/>
                    <a:gd name="connsiteX54" fmla="*/ 527788 w 1128239"/>
                    <a:gd name="connsiteY54" fmla="*/ 868406 h 1128239"/>
                    <a:gd name="connsiteX55" fmla="*/ 296515 w 1128239"/>
                    <a:gd name="connsiteY55" fmla="*/ 868406 h 1128239"/>
                    <a:gd name="connsiteX56" fmla="*/ 369500 w 1128239"/>
                    <a:gd name="connsiteY56" fmla="*/ 1015346 h 1128239"/>
                    <a:gd name="connsiteX57" fmla="*/ 178565 w 1128239"/>
                    <a:gd name="connsiteY57" fmla="*/ 868406 h 1128239"/>
                    <a:gd name="connsiteX58" fmla="*/ 296515 w 1128239"/>
                    <a:gd name="connsiteY58" fmla="*/ 868406 h 1128239"/>
                    <a:gd name="connsiteX59" fmla="*/ 527788 w 1128239"/>
                    <a:gd name="connsiteY59" fmla="*/ 600451 h 1128239"/>
                    <a:gd name="connsiteX60" fmla="*/ 527788 w 1128239"/>
                    <a:gd name="connsiteY60" fmla="*/ 796281 h 1128239"/>
                    <a:gd name="connsiteX61" fmla="*/ 350945 w 1128239"/>
                    <a:gd name="connsiteY61" fmla="*/ 796281 h 1128239"/>
                    <a:gd name="connsiteX62" fmla="*/ 323084 w 1128239"/>
                    <a:gd name="connsiteY62" fmla="*/ 600451 h 1128239"/>
                    <a:gd name="connsiteX63" fmla="*/ 527788 w 1128239"/>
                    <a:gd name="connsiteY63" fmla="*/ 600451 h 1128239"/>
                    <a:gd name="connsiteX64" fmla="*/ 250636 w 1128239"/>
                    <a:gd name="connsiteY64" fmla="*/ 600451 h 1128239"/>
                    <a:gd name="connsiteX65" fmla="*/ 276023 w 1128239"/>
                    <a:gd name="connsiteY65" fmla="*/ 796281 h 1128239"/>
                    <a:gd name="connsiteX66" fmla="*/ 131127 w 1128239"/>
                    <a:gd name="connsiteY66" fmla="*/ 796281 h 1128239"/>
                    <a:gd name="connsiteX67" fmla="*/ 74277 w 1128239"/>
                    <a:gd name="connsiteY67" fmla="*/ 600451 h 1128239"/>
                    <a:gd name="connsiteX68" fmla="*/ 250636 w 1128239"/>
                    <a:gd name="connsiteY68" fmla="*/ 600451 h 1128239"/>
                    <a:gd name="connsiteX69" fmla="*/ 275162 w 1128239"/>
                    <a:gd name="connsiteY69" fmla="*/ 334702 h 1128239"/>
                    <a:gd name="connsiteX70" fmla="*/ 250636 w 1128239"/>
                    <a:gd name="connsiteY70" fmla="*/ 527788 h 1128239"/>
                    <a:gd name="connsiteX71" fmla="*/ 74223 w 1128239"/>
                    <a:gd name="connsiteY71" fmla="*/ 527788 h 1128239"/>
                    <a:gd name="connsiteX72" fmla="*/ 129782 w 1128239"/>
                    <a:gd name="connsiteY72" fmla="*/ 334702 h 1128239"/>
                    <a:gd name="connsiteX73" fmla="*/ 275162 w 1128239"/>
                    <a:gd name="connsiteY73" fmla="*/ 334702 h 1128239"/>
                    <a:gd name="connsiteX74" fmla="*/ 176682 w 1128239"/>
                    <a:gd name="connsiteY74" fmla="*/ 262039 h 1128239"/>
                    <a:gd name="connsiteX75" fmla="*/ 369608 w 1128239"/>
                    <a:gd name="connsiteY75" fmla="*/ 112894 h 1128239"/>
                    <a:gd name="connsiteX76" fmla="*/ 295600 w 1128239"/>
                    <a:gd name="connsiteY76" fmla="*/ 262039 h 1128239"/>
                    <a:gd name="connsiteX77" fmla="*/ 176682 w 1128239"/>
                    <a:gd name="connsiteY77" fmla="*/ 262039 h 1128239"/>
                    <a:gd name="connsiteX78" fmla="*/ 527788 w 1128239"/>
                    <a:gd name="connsiteY78" fmla="*/ 334702 h 1128239"/>
                    <a:gd name="connsiteX79" fmla="*/ 527788 w 1128239"/>
                    <a:gd name="connsiteY79" fmla="*/ 527788 h 1128239"/>
                    <a:gd name="connsiteX80" fmla="*/ 323138 w 1128239"/>
                    <a:gd name="connsiteY80" fmla="*/ 527788 h 1128239"/>
                    <a:gd name="connsiteX81" fmla="*/ 350568 w 1128239"/>
                    <a:gd name="connsiteY81" fmla="*/ 334702 h 1128239"/>
                    <a:gd name="connsiteX82" fmla="*/ 527788 w 1128239"/>
                    <a:gd name="connsiteY82" fmla="*/ 334702 h 1128239"/>
                    <a:gd name="connsiteX83" fmla="*/ 527788 w 1128239"/>
                    <a:gd name="connsiteY83" fmla="*/ 76482 h 1128239"/>
                    <a:gd name="connsiteX84" fmla="*/ 527788 w 1128239"/>
                    <a:gd name="connsiteY84" fmla="*/ 262092 h 1128239"/>
                    <a:gd name="connsiteX85" fmla="*/ 373588 w 1128239"/>
                    <a:gd name="connsiteY85" fmla="*/ 262092 h 1128239"/>
                    <a:gd name="connsiteX86" fmla="*/ 397845 w 1128239"/>
                    <a:gd name="connsiteY86" fmla="*/ 207555 h 1128239"/>
                    <a:gd name="connsiteX87" fmla="*/ 527788 w 1128239"/>
                    <a:gd name="connsiteY87" fmla="*/ 76482 h 112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28239" h="1128239">
                      <a:moveTo>
                        <a:pt x="564147" y="0"/>
                      </a:moveTo>
                      <a:lnTo>
                        <a:pt x="546720" y="484"/>
                      </a:lnTo>
                      <a:cubicBezTo>
                        <a:pt x="399996" y="5056"/>
                        <a:pt x="262576" y="65779"/>
                        <a:pt x="159794" y="171412"/>
                      </a:cubicBezTo>
                      <a:cubicBezTo>
                        <a:pt x="56743" y="277367"/>
                        <a:pt x="0" y="416831"/>
                        <a:pt x="0" y="564093"/>
                      </a:cubicBezTo>
                      <a:cubicBezTo>
                        <a:pt x="0" y="711463"/>
                        <a:pt x="56743" y="850980"/>
                        <a:pt x="159794" y="956989"/>
                      </a:cubicBezTo>
                      <a:cubicBezTo>
                        <a:pt x="262415" y="1062569"/>
                        <a:pt x="399512" y="1123184"/>
                        <a:pt x="545860" y="1127756"/>
                      </a:cubicBezTo>
                      <a:cubicBezTo>
                        <a:pt x="549894" y="1128240"/>
                        <a:pt x="564147" y="1128240"/>
                        <a:pt x="564147" y="1128240"/>
                      </a:cubicBezTo>
                      <a:cubicBezTo>
                        <a:pt x="661820" y="1128240"/>
                        <a:pt x="758202" y="1102746"/>
                        <a:pt x="842805" y="1054447"/>
                      </a:cubicBezTo>
                      <a:cubicBezTo>
                        <a:pt x="921976" y="1009268"/>
                        <a:pt x="989583" y="945103"/>
                        <a:pt x="1038850" y="868460"/>
                      </a:cubicBezTo>
                      <a:lnTo>
                        <a:pt x="1048370" y="853777"/>
                      </a:lnTo>
                      <a:cubicBezTo>
                        <a:pt x="1100648" y="766377"/>
                        <a:pt x="1128240" y="666337"/>
                        <a:pt x="1128240" y="564147"/>
                      </a:cubicBezTo>
                      <a:cubicBezTo>
                        <a:pt x="1128293" y="253057"/>
                        <a:pt x="875237" y="0"/>
                        <a:pt x="564147" y="0"/>
                      </a:cubicBezTo>
                      <a:close/>
                      <a:moveTo>
                        <a:pt x="837265" y="796227"/>
                      </a:moveTo>
                      <a:cubicBezTo>
                        <a:pt x="851948" y="734106"/>
                        <a:pt x="860446" y="668435"/>
                        <a:pt x="862652" y="600398"/>
                      </a:cubicBezTo>
                      <a:lnTo>
                        <a:pt x="1054501" y="600398"/>
                      </a:lnTo>
                      <a:cubicBezTo>
                        <a:pt x="1049338" y="668865"/>
                        <a:pt x="1029706" y="736042"/>
                        <a:pt x="997274" y="796227"/>
                      </a:cubicBezTo>
                      <a:lnTo>
                        <a:pt x="837265" y="796227"/>
                      </a:lnTo>
                      <a:close/>
                      <a:moveTo>
                        <a:pt x="738785" y="868406"/>
                      </a:moveTo>
                      <a:cubicBezTo>
                        <a:pt x="731847" y="886532"/>
                        <a:pt x="724048" y="904173"/>
                        <a:pt x="715443" y="921061"/>
                      </a:cubicBezTo>
                      <a:cubicBezTo>
                        <a:pt x="682580" y="985011"/>
                        <a:pt x="642403" y="1028631"/>
                        <a:pt x="600559" y="1046487"/>
                      </a:cubicBezTo>
                      <a:lnTo>
                        <a:pt x="600559" y="868406"/>
                      </a:lnTo>
                      <a:lnTo>
                        <a:pt x="738785" y="868406"/>
                      </a:lnTo>
                      <a:close/>
                      <a:moveTo>
                        <a:pt x="736957" y="1024328"/>
                      </a:moveTo>
                      <a:cubicBezTo>
                        <a:pt x="768690" y="982645"/>
                        <a:pt x="795743" y="929882"/>
                        <a:pt x="816773" y="868460"/>
                      </a:cubicBezTo>
                      <a:lnTo>
                        <a:pt x="949836" y="868460"/>
                      </a:lnTo>
                      <a:cubicBezTo>
                        <a:pt x="894062" y="939133"/>
                        <a:pt x="820538" y="992864"/>
                        <a:pt x="736957" y="1024328"/>
                      </a:cubicBezTo>
                      <a:close/>
                      <a:moveTo>
                        <a:pt x="600559" y="796227"/>
                      </a:moveTo>
                      <a:lnTo>
                        <a:pt x="600559" y="600398"/>
                      </a:lnTo>
                      <a:lnTo>
                        <a:pt x="789827" y="600398"/>
                      </a:lnTo>
                      <a:cubicBezTo>
                        <a:pt x="787460" y="669457"/>
                        <a:pt x="777941" y="736580"/>
                        <a:pt x="761967" y="796227"/>
                      </a:cubicBezTo>
                      <a:lnTo>
                        <a:pt x="600559" y="796227"/>
                      </a:lnTo>
                      <a:close/>
                      <a:moveTo>
                        <a:pt x="600559" y="527788"/>
                      </a:moveTo>
                      <a:lnTo>
                        <a:pt x="600559" y="334702"/>
                      </a:lnTo>
                      <a:lnTo>
                        <a:pt x="762773" y="334702"/>
                      </a:lnTo>
                      <a:cubicBezTo>
                        <a:pt x="778210" y="394295"/>
                        <a:pt x="787460" y="460450"/>
                        <a:pt x="789827" y="527788"/>
                      </a:cubicBezTo>
                      <a:lnTo>
                        <a:pt x="600559" y="527788"/>
                      </a:lnTo>
                      <a:close/>
                      <a:moveTo>
                        <a:pt x="600559" y="262039"/>
                      </a:moveTo>
                      <a:lnTo>
                        <a:pt x="600559" y="81860"/>
                      </a:lnTo>
                      <a:cubicBezTo>
                        <a:pt x="642672" y="100039"/>
                        <a:pt x="682849" y="143766"/>
                        <a:pt x="715550" y="207770"/>
                      </a:cubicBezTo>
                      <a:cubicBezTo>
                        <a:pt x="724102" y="223959"/>
                        <a:pt x="732062" y="241869"/>
                        <a:pt x="739700" y="262092"/>
                      </a:cubicBezTo>
                      <a:lnTo>
                        <a:pt x="600559" y="262092"/>
                      </a:lnTo>
                      <a:close/>
                      <a:moveTo>
                        <a:pt x="817311" y="262039"/>
                      </a:moveTo>
                      <a:cubicBezTo>
                        <a:pt x="796496" y="199702"/>
                        <a:pt x="769227" y="146079"/>
                        <a:pt x="736903" y="103751"/>
                      </a:cubicBezTo>
                      <a:cubicBezTo>
                        <a:pt x="821398" y="135376"/>
                        <a:pt x="895675" y="189967"/>
                        <a:pt x="951826" y="262039"/>
                      </a:cubicBezTo>
                      <a:lnTo>
                        <a:pt x="817311" y="262039"/>
                      </a:lnTo>
                      <a:close/>
                      <a:moveTo>
                        <a:pt x="1054501" y="527788"/>
                      </a:moveTo>
                      <a:lnTo>
                        <a:pt x="862652" y="527788"/>
                      </a:lnTo>
                      <a:cubicBezTo>
                        <a:pt x="860500" y="459858"/>
                        <a:pt x="852163" y="395048"/>
                        <a:pt x="837803" y="334702"/>
                      </a:cubicBezTo>
                      <a:lnTo>
                        <a:pt x="998619" y="334702"/>
                      </a:lnTo>
                      <a:cubicBezTo>
                        <a:pt x="1030190" y="394026"/>
                        <a:pt x="1049392" y="460235"/>
                        <a:pt x="1054501" y="527788"/>
                      </a:cubicBezTo>
                      <a:close/>
                      <a:moveTo>
                        <a:pt x="527788" y="868406"/>
                      </a:moveTo>
                      <a:lnTo>
                        <a:pt x="527788" y="1051704"/>
                      </a:lnTo>
                      <a:cubicBezTo>
                        <a:pt x="480350" y="1038688"/>
                        <a:pt x="434795" y="993133"/>
                        <a:pt x="397845" y="921115"/>
                      </a:cubicBezTo>
                      <a:cubicBezTo>
                        <a:pt x="389454" y="904657"/>
                        <a:pt x="381602" y="887016"/>
                        <a:pt x="374341" y="868406"/>
                      </a:cubicBezTo>
                      <a:lnTo>
                        <a:pt x="527788" y="868406"/>
                      </a:lnTo>
                      <a:close/>
                      <a:moveTo>
                        <a:pt x="296515" y="868406"/>
                      </a:moveTo>
                      <a:cubicBezTo>
                        <a:pt x="315931" y="925633"/>
                        <a:pt x="340672" y="975330"/>
                        <a:pt x="369500" y="1015346"/>
                      </a:cubicBezTo>
                      <a:cubicBezTo>
                        <a:pt x="294901" y="983021"/>
                        <a:pt x="229069" y="932464"/>
                        <a:pt x="178565" y="868406"/>
                      </a:cubicBezTo>
                      <a:lnTo>
                        <a:pt x="296515" y="868406"/>
                      </a:lnTo>
                      <a:close/>
                      <a:moveTo>
                        <a:pt x="527788" y="600451"/>
                      </a:moveTo>
                      <a:lnTo>
                        <a:pt x="527788" y="796281"/>
                      </a:lnTo>
                      <a:lnTo>
                        <a:pt x="350945" y="796281"/>
                      </a:lnTo>
                      <a:cubicBezTo>
                        <a:pt x="335347" y="736688"/>
                        <a:pt x="325827" y="669565"/>
                        <a:pt x="323084" y="600451"/>
                      </a:cubicBezTo>
                      <a:lnTo>
                        <a:pt x="527788" y="600451"/>
                      </a:lnTo>
                      <a:close/>
                      <a:moveTo>
                        <a:pt x="250636" y="600451"/>
                      </a:moveTo>
                      <a:cubicBezTo>
                        <a:pt x="252788" y="668489"/>
                        <a:pt x="261339" y="734160"/>
                        <a:pt x="276023" y="796281"/>
                      </a:cubicBezTo>
                      <a:lnTo>
                        <a:pt x="131127" y="796281"/>
                      </a:lnTo>
                      <a:cubicBezTo>
                        <a:pt x="98533" y="735881"/>
                        <a:pt x="79063" y="668704"/>
                        <a:pt x="74277" y="600451"/>
                      </a:cubicBezTo>
                      <a:lnTo>
                        <a:pt x="250636" y="600451"/>
                      </a:lnTo>
                      <a:close/>
                      <a:moveTo>
                        <a:pt x="275162" y="334702"/>
                      </a:moveTo>
                      <a:cubicBezTo>
                        <a:pt x="261017" y="395478"/>
                        <a:pt x="252788" y="460289"/>
                        <a:pt x="250636" y="527788"/>
                      </a:cubicBezTo>
                      <a:lnTo>
                        <a:pt x="74223" y="527788"/>
                      </a:lnTo>
                      <a:cubicBezTo>
                        <a:pt x="79010" y="460450"/>
                        <a:pt x="97996" y="394241"/>
                        <a:pt x="129782" y="334702"/>
                      </a:cubicBezTo>
                      <a:lnTo>
                        <a:pt x="275162" y="334702"/>
                      </a:lnTo>
                      <a:close/>
                      <a:moveTo>
                        <a:pt x="176682" y="262039"/>
                      </a:moveTo>
                      <a:cubicBezTo>
                        <a:pt x="227778" y="196959"/>
                        <a:pt x="294255" y="145649"/>
                        <a:pt x="369608" y="112894"/>
                      </a:cubicBezTo>
                      <a:cubicBezTo>
                        <a:pt x="340134" y="153716"/>
                        <a:pt x="315070" y="204166"/>
                        <a:pt x="295600" y="262039"/>
                      </a:cubicBezTo>
                      <a:lnTo>
                        <a:pt x="176682" y="262039"/>
                      </a:lnTo>
                      <a:close/>
                      <a:moveTo>
                        <a:pt x="527788" y="334702"/>
                      </a:moveTo>
                      <a:lnTo>
                        <a:pt x="527788" y="527788"/>
                      </a:lnTo>
                      <a:lnTo>
                        <a:pt x="323138" y="527788"/>
                      </a:lnTo>
                      <a:cubicBezTo>
                        <a:pt x="325827" y="460020"/>
                        <a:pt x="335240" y="393918"/>
                        <a:pt x="350568" y="334702"/>
                      </a:cubicBezTo>
                      <a:lnTo>
                        <a:pt x="527788" y="334702"/>
                      </a:lnTo>
                      <a:close/>
                      <a:moveTo>
                        <a:pt x="527788" y="76482"/>
                      </a:moveTo>
                      <a:lnTo>
                        <a:pt x="527788" y="262092"/>
                      </a:lnTo>
                      <a:lnTo>
                        <a:pt x="373588" y="262092"/>
                      </a:lnTo>
                      <a:cubicBezTo>
                        <a:pt x="381225" y="241869"/>
                        <a:pt x="389239" y="223905"/>
                        <a:pt x="397845" y="207555"/>
                      </a:cubicBezTo>
                      <a:cubicBezTo>
                        <a:pt x="434741" y="135215"/>
                        <a:pt x="480297" y="89498"/>
                        <a:pt x="527788" y="76482"/>
                      </a:cubicBezTo>
                      <a:close/>
                    </a:path>
                  </a:pathLst>
                </a:custGeom>
                <a:solidFill>
                  <a:schemeClr val="bg1"/>
                </a:solidFill>
                <a:ln w="5376" cap="flat">
                  <a:noFill/>
                  <a:prstDash val="solid"/>
                  <a:miter/>
                </a:ln>
              </p:spPr>
              <p:txBody>
                <a:bodyPr rtlCol="0" anchor="ctr"/>
                <a:lstStyle/>
                <a:p>
                  <a:endParaRPr lang="en-US" sz="2000"/>
                </a:p>
              </p:txBody>
            </p:sp>
          </p:grpSp>
          <p:grpSp>
            <p:nvGrpSpPr>
              <p:cNvPr id="17" name="Gruppieren 16">
                <a:extLst>
                  <a:ext uri="{FF2B5EF4-FFF2-40B4-BE49-F238E27FC236}">
                    <a16:creationId xmlns:a16="http://schemas.microsoft.com/office/drawing/2014/main" id="{F2C11B36-9BC7-5841-0DC2-D7DD4B89AF4A}"/>
                  </a:ext>
                </a:extLst>
              </p:cNvPr>
              <p:cNvGrpSpPr>
                <a:grpSpLocks/>
              </p:cNvGrpSpPr>
              <p:nvPr/>
            </p:nvGrpSpPr>
            <p:grpSpPr>
              <a:xfrm>
                <a:off x="4785185" y="1833622"/>
                <a:ext cx="946254" cy="946254"/>
                <a:chOff x="4378935" y="1444072"/>
                <a:chExt cx="1027892" cy="1027892"/>
              </a:xfrm>
            </p:grpSpPr>
            <p:sp>
              <p:nvSpPr>
                <p:cNvPr id="27" name="Ellipse 26">
                  <a:extLst>
                    <a:ext uri="{FF2B5EF4-FFF2-40B4-BE49-F238E27FC236}">
                      <a16:creationId xmlns:a16="http://schemas.microsoft.com/office/drawing/2014/main" id="{2CC88368-E4CB-9588-8408-6A4C36158B81}"/>
                    </a:ext>
                  </a:extLst>
                </p:cNvPr>
                <p:cNvSpPr>
                  <a:spLocks/>
                </p:cNvSpPr>
                <p:nvPr/>
              </p:nvSpPr>
              <p:spPr bwMode="gray">
                <a:xfrm>
                  <a:off x="4378935" y="1444072"/>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sp>
              <p:nvSpPr>
                <p:cNvPr id="61" name="Freeform 76">
                  <a:extLst>
                    <a:ext uri="{FF2B5EF4-FFF2-40B4-BE49-F238E27FC236}">
                      <a16:creationId xmlns:a16="http://schemas.microsoft.com/office/drawing/2014/main" id="{59D88A04-F968-DCE3-A534-104D75055094}"/>
                    </a:ext>
                  </a:extLst>
                </p:cNvPr>
                <p:cNvSpPr>
                  <a:spLocks noEditPoints="1"/>
                </p:cNvSpPr>
                <p:nvPr>
                  <p:custDataLst>
                    <p:tags r:id="rId3"/>
                  </p:custDataLst>
                </p:nvPr>
              </p:nvSpPr>
              <p:spPr bwMode="auto">
                <a:xfrm>
                  <a:off x="4624834" y="1737624"/>
                  <a:ext cx="536094" cy="440789"/>
                </a:xfrm>
                <a:custGeom>
                  <a:avLst/>
                  <a:gdLst>
                    <a:gd name="T0" fmla="*/ 237 w 315"/>
                    <a:gd name="T1" fmla="*/ 68 h 259"/>
                    <a:gd name="T2" fmla="*/ 83 w 315"/>
                    <a:gd name="T3" fmla="*/ 222 h 259"/>
                    <a:gd name="T4" fmla="*/ 0 w 315"/>
                    <a:gd name="T5" fmla="*/ 222 h 259"/>
                    <a:gd name="T6" fmla="*/ 0 w 315"/>
                    <a:gd name="T7" fmla="*/ 191 h 259"/>
                    <a:gd name="T8" fmla="*/ 71 w 315"/>
                    <a:gd name="T9" fmla="*/ 191 h 259"/>
                    <a:gd name="T10" fmla="*/ 224 w 315"/>
                    <a:gd name="T11" fmla="*/ 38 h 259"/>
                    <a:gd name="T12" fmla="*/ 224 w 315"/>
                    <a:gd name="T13" fmla="*/ 38 h 259"/>
                    <a:gd name="T14" fmla="*/ 224 w 315"/>
                    <a:gd name="T15" fmla="*/ 38 h 259"/>
                    <a:gd name="T16" fmla="*/ 271 w 315"/>
                    <a:gd name="T17" fmla="*/ 38 h 259"/>
                    <a:gd name="T18" fmla="*/ 249 w 315"/>
                    <a:gd name="T19" fmla="*/ 13 h 259"/>
                    <a:gd name="T20" fmla="*/ 262 w 315"/>
                    <a:gd name="T21" fmla="*/ 0 h 259"/>
                    <a:gd name="T22" fmla="*/ 315 w 315"/>
                    <a:gd name="T23" fmla="*/ 53 h 259"/>
                    <a:gd name="T24" fmla="*/ 262 w 315"/>
                    <a:gd name="T25" fmla="*/ 106 h 259"/>
                    <a:gd name="T26" fmla="*/ 249 w 315"/>
                    <a:gd name="T27" fmla="*/ 93 h 259"/>
                    <a:gd name="T28" fmla="*/ 271 w 315"/>
                    <a:gd name="T29" fmla="*/ 68 h 259"/>
                    <a:gd name="T30" fmla="*/ 237 w 315"/>
                    <a:gd name="T31" fmla="*/ 68 h 259"/>
                    <a:gd name="T32" fmla="*/ 121 w 315"/>
                    <a:gd name="T33" fmla="*/ 119 h 259"/>
                    <a:gd name="T34" fmla="*/ 143 w 315"/>
                    <a:gd name="T35" fmla="*/ 97 h 259"/>
                    <a:gd name="T36" fmla="*/ 83 w 315"/>
                    <a:gd name="T37" fmla="*/ 38 h 259"/>
                    <a:gd name="T38" fmla="*/ 0 w 315"/>
                    <a:gd name="T39" fmla="*/ 38 h 259"/>
                    <a:gd name="T40" fmla="*/ 0 w 315"/>
                    <a:gd name="T41" fmla="*/ 68 h 259"/>
                    <a:gd name="T42" fmla="*/ 71 w 315"/>
                    <a:gd name="T43" fmla="*/ 68 h 259"/>
                    <a:gd name="T44" fmla="*/ 121 w 315"/>
                    <a:gd name="T45" fmla="*/ 119 h 259"/>
                    <a:gd name="T46" fmla="*/ 249 w 315"/>
                    <a:gd name="T47" fmla="*/ 166 h 259"/>
                    <a:gd name="T48" fmla="*/ 271 w 315"/>
                    <a:gd name="T49" fmla="*/ 191 h 259"/>
                    <a:gd name="T50" fmla="*/ 237 w 315"/>
                    <a:gd name="T51" fmla="*/ 191 h 259"/>
                    <a:gd name="T52" fmla="*/ 186 w 315"/>
                    <a:gd name="T53" fmla="*/ 140 h 259"/>
                    <a:gd name="T54" fmla="*/ 165 w 315"/>
                    <a:gd name="T55" fmla="*/ 162 h 259"/>
                    <a:gd name="T56" fmla="*/ 224 w 315"/>
                    <a:gd name="T57" fmla="*/ 222 h 259"/>
                    <a:gd name="T58" fmla="*/ 271 w 315"/>
                    <a:gd name="T59" fmla="*/ 222 h 259"/>
                    <a:gd name="T60" fmla="*/ 249 w 315"/>
                    <a:gd name="T61" fmla="*/ 246 h 259"/>
                    <a:gd name="T62" fmla="*/ 262 w 315"/>
                    <a:gd name="T63" fmla="*/ 259 h 259"/>
                    <a:gd name="T64" fmla="*/ 315 w 315"/>
                    <a:gd name="T65" fmla="*/ 206 h 259"/>
                    <a:gd name="T66" fmla="*/ 262 w 315"/>
                    <a:gd name="T67" fmla="*/ 153 h 259"/>
                    <a:gd name="T68" fmla="*/ 249 w 315"/>
                    <a:gd name="T69" fmla="*/ 16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5" h="259">
                      <a:moveTo>
                        <a:pt x="237" y="68"/>
                      </a:moveTo>
                      <a:lnTo>
                        <a:pt x="83" y="222"/>
                      </a:lnTo>
                      <a:lnTo>
                        <a:pt x="0" y="222"/>
                      </a:lnTo>
                      <a:lnTo>
                        <a:pt x="0" y="191"/>
                      </a:lnTo>
                      <a:lnTo>
                        <a:pt x="71" y="191"/>
                      </a:lnTo>
                      <a:lnTo>
                        <a:pt x="224" y="38"/>
                      </a:lnTo>
                      <a:lnTo>
                        <a:pt x="224" y="38"/>
                      </a:lnTo>
                      <a:lnTo>
                        <a:pt x="224" y="38"/>
                      </a:lnTo>
                      <a:lnTo>
                        <a:pt x="271" y="38"/>
                      </a:lnTo>
                      <a:lnTo>
                        <a:pt x="249" y="13"/>
                      </a:lnTo>
                      <a:lnTo>
                        <a:pt x="262" y="0"/>
                      </a:lnTo>
                      <a:lnTo>
                        <a:pt x="315" y="53"/>
                      </a:lnTo>
                      <a:lnTo>
                        <a:pt x="262" y="106"/>
                      </a:lnTo>
                      <a:lnTo>
                        <a:pt x="249" y="93"/>
                      </a:lnTo>
                      <a:lnTo>
                        <a:pt x="271" y="68"/>
                      </a:lnTo>
                      <a:lnTo>
                        <a:pt x="237" y="68"/>
                      </a:lnTo>
                      <a:close/>
                      <a:moveTo>
                        <a:pt x="121" y="119"/>
                      </a:moveTo>
                      <a:lnTo>
                        <a:pt x="143" y="97"/>
                      </a:lnTo>
                      <a:lnTo>
                        <a:pt x="83" y="38"/>
                      </a:lnTo>
                      <a:lnTo>
                        <a:pt x="0" y="38"/>
                      </a:lnTo>
                      <a:lnTo>
                        <a:pt x="0" y="68"/>
                      </a:lnTo>
                      <a:lnTo>
                        <a:pt x="71" y="68"/>
                      </a:lnTo>
                      <a:lnTo>
                        <a:pt x="121" y="119"/>
                      </a:lnTo>
                      <a:close/>
                      <a:moveTo>
                        <a:pt x="249" y="166"/>
                      </a:moveTo>
                      <a:lnTo>
                        <a:pt x="271" y="191"/>
                      </a:lnTo>
                      <a:lnTo>
                        <a:pt x="237" y="191"/>
                      </a:lnTo>
                      <a:lnTo>
                        <a:pt x="186" y="140"/>
                      </a:lnTo>
                      <a:lnTo>
                        <a:pt x="165" y="162"/>
                      </a:lnTo>
                      <a:lnTo>
                        <a:pt x="224" y="222"/>
                      </a:lnTo>
                      <a:lnTo>
                        <a:pt x="271" y="222"/>
                      </a:lnTo>
                      <a:lnTo>
                        <a:pt x="249" y="246"/>
                      </a:lnTo>
                      <a:lnTo>
                        <a:pt x="262" y="259"/>
                      </a:lnTo>
                      <a:lnTo>
                        <a:pt x="315" y="206"/>
                      </a:lnTo>
                      <a:lnTo>
                        <a:pt x="262" y="153"/>
                      </a:lnTo>
                      <a:lnTo>
                        <a:pt x="249" y="1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en-US" sz="2000">
                    <a:solidFill>
                      <a:srgbClr val="ADBECB"/>
                    </a:solidFill>
                    <a:ea typeface="ＭＳ Ｐゴシック" charset="-128"/>
                  </a:endParaRPr>
                </a:p>
              </p:txBody>
            </p:sp>
          </p:grpSp>
          <p:grpSp>
            <p:nvGrpSpPr>
              <p:cNvPr id="4" name="Gruppieren 3">
                <a:extLst>
                  <a:ext uri="{FF2B5EF4-FFF2-40B4-BE49-F238E27FC236}">
                    <a16:creationId xmlns:a16="http://schemas.microsoft.com/office/drawing/2014/main" id="{A6B29654-6B97-2579-6D66-9B70B97E6EC5}"/>
                  </a:ext>
                </a:extLst>
              </p:cNvPr>
              <p:cNvGrpSpPr>
                <a:grpSpLocks/>
              </p:cNvGrpSpPr>
              <p:nvPr/>
            </p:nvGrpSpPr>
            <p:grpSpPr>
              <a:xfrm>
                <a:off x="6445146" y="1833622"/>
                <a:ext cx="946254" cy="946254"/>
                <a:chOff x="6803004" y="1405970"/>
                <a:chExt cx="1027892" cy="1027892"/>
              </a:xfrm>
            </p:grpSpPr>
            <p:sp>
              <p:nvSpPr>
                <p:cNvPr id="28" name="Ellipse 27">
                  <a:extLst>
                    <a:ext uri="{FF2B5EF4-FFF2-40B4-BE49-F238E27FC236}">
                      <a16:creationId xmlns:a16="http://schemas.microsoft.com/office/drawing/2014/main" id="{63F57795-9AD1-23DC-C08B-F23998F82092}"/>
                    </a:ext>
                  </a:extLst>
                </p:cNvPr>
                <p:cNvSpPr>
                  <a:spLocks/>
                </p:cNvSpPr>
                <p:nvPr/>
              </p:nvSpPr>
              <p:spPr bwMode="gray">
                <a:xfrm>
                  <a:off x="6803004" y="1405970"/>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a:ea typeface="Arial Unicode MS"/>
                  </a:endParaRPr>
                </a:p>
              </p:txBody>
            </p:sp>
            <p:sp>
              <p:nvSpPr>
                <p:cNvPr id="56" name="Freihandform: Form 55">
                  <a:extLst>
                    <a:ext uri="{FF2B5EF4-FFF2-40B4-BE49-F238E27FC236}">
                      <a16:creationId xmlns:a16="http://schemas.microsoft.com/office/drawing/2014/main" id="{9794FCD3-41CF-1547-6E35-FFA5B9333B89}"/>
                    </a:ext>
                  </a:extLst>
                </p:cNvPr>
                <p:cNvSpPr>
                  <a:spLocks/>
                </p:cNvSpPr>
                <p:nvPr/>
              </p:nvSpPr>
              <p:spPr>
                <a:xfrm>
                  <a:off x="7037474" y="1611763"/>
                  <a:ext cx="558952" cy="616306"/>
                </a:xfrm>
                <a:custGeom>
                  <a:avLst/>
                  <a:gdLst>
                    <a:gd name="connsiteX0" fmla="*/ 273771 w 593129"/>
                    <a:gd name="connsiteY0" fmla="*/ 410642 h 653992"/>
                    <a:gd name="connsiteX1" fmla="*/ 319404 w 593129"/>
                    <a:gd name="connsiteY1" fmla="*/ 410642 h 653992"/>
                    <a:gd name="connsiteX2" fmla="*/ 322892 w 593129"/>
                    <a:gd name="connsiteY2" fmla="*/ 560258 h 653992"/>
                    <a:gd name="connsiteX3" fmla="*/ 386553 w 593129"/>
                    <a:gd name="connsiteY3" fmla="*/ 510439 h 653992"/>
                    <a:gd name="connsiteX4" fmla="*/ 410644 w 593129"/>
                    <a:gd name="connsiteY4" fmla="*/ 535496 h 653992"/>
                    <a:gd name="connsiteX5" fmla="*/ 296575 w 593129"/>
                    <a:gd name="connsiteY5" fmla="*/ 653992 h 653992"/>
                    <a:gd name="connsiteX6" fmla="*/ 182505 w 593129"/>
                    <a:gd name="connsiteY6" fmla="*/ 535496 h 653992"/>
                    <a:gd name="connsiteX7" fmla="*/ 206623 w 593129"/>
                    <a:gd name="connsiteY7" fmla="*/ 510439 h 653992"/>
                    <a:gd name="connsiteX8" fmla="*/ 270284 w 593129"/>
                    <a:gd name="connsiteY8" fmla="*/ 560258 h 653992"/>
                    <a:gd name="connsiteX9" fmla="*/ 429692 w 593129"/>
                    <a:gd name="connsiteY9" fmla="*/ 243294 h 653992"/>
                    <a:gd name="connsiteX10" fmla="*/ 401980 w 593129"/>
                    <a:gd name="connsiteY10" fmla="*/ 248981 h 653992"/>
                    <a:gd name="connsiteX11" fmla="*/ 405440 w 593129"/>
                    <a:gd name="connsiteY11" fmla="*/ 264836 h 653992"/>
                    <a:gd name="connsiteX12" fmla="*/ 426822 w 593129"/>
                    <a:gd name="connsiteY12" fmla="*/ 259149 h 653992"/>
                    <a:gd name="connsiteX13" fmla="*/ 438116 w 593129"/>
                    <a:gd name="connsiteY13" fmla="*/ 267170 h 653992"/>
                    <a:gd name="connsiteX14" fmla="*/ 423549 w 593129"/>
                    <a:gd name="connsiteY14" fmla="*/ 286566 h 653992"/>
                    <a:gd name="connsiteX15" fmla="*/ 402918 w 593129"/>
                    <a:gd name="connsiteY15" fmla="*/ 301402 h 653992"/>
                    <a:gd name="connsiteX16" fmla="*/ 402918 w 593129"/>
                    <a:gd name="connsiteY16" fmla="*/ 317069 h 653992"/>
                    <a:gd name="connsiteX17" fmla="*/ 459470 w 593129"/>
                    <a:gd name="connsiteY17" fmla="*/ 317069 h 653992"/>
                    <a:gd name="connsiteX18" fmla="*/ 459470 w 593129"/>
                    <a:gd name="connsiteY18" fmla="*/ 301429 h 653992"/>
                    <a:gd name="connsiteX19" fmla="*/ 430551 w 593129"/>
                    <a:gd name="connsiteY19" fmla="*/ 301429 h 653992"/>
                    <a:gd name="connsiteX20" fmla="*/ 453219 w 593129"/>
                    <a:gd name="connsiteY20" fmla="*/ 281281 h 653992"/>
                    <a:gd name="connsiteX21" fmla="*/ 458907 w 593129"/>
                    <a:gd name="connsiteY21" fmla="*/ 265319 h 653992"/>
                    <a:gd name="connsiteX22" fmla="*/ 451154 w 593129"/>
                    <a:gd name="connsiteY22" fmla="*/ 248713 h 653992"/>
                    <a:gd name="connsiteX23" fmla="*/ 429692 w 593129"/>
                    <a:gd name="connsiteY23" fmla="*/ 243294 h 653992"/>
                    <a:gd name="connsiteX24" fmla="*/ 318385 w 593129"/>
                    <a:gd name="connsiteY24" fmla="*/ 205843 h 653992"/>
                    <a:gd name="connsiteX25" fmla="*/ 342342 w 593129"/>
                    <a:gd name="connsiteY25" fmla="*/ 217352 h 653992"/>
                    <a:gd name="connsiteX26" fmla="*/ 351758 w 593129"/>
                    <a:gd name="connsiteY26" fmla="*/ 250940 h 653992"/>
                    <a:gd name="connsiteX27" fmla="*/ 343817 w 593129"/>
                    <a:gd name="connsiteY27" fmla="*/ 282569 h 653992"/>
                    <a:gd name="connsiteX28" fmla="*/ 318814 w 593129"/>
                    <a:gd name="connsiteY28" fmla="*/ 296090 h 653992"/>
                    <a:gd name="connsiteX29" fmla="*/ 295313 w 593129"/>
                    <a:gd name="connsiteY29" fmla="*/ 284608 h 653992"/>
                    <a:gd name="connsiteX30" fmla="*/ 285897 w 593129"/>
                    <a:gd name="connsiteY30" fmla="*/ 250913 h 653992"/>
                    <a:gd name="connsiteX31" fmla="*/ 293838 w 593129"/>
                    <a:gd name="connsiteY31" fmla="*/ 219283 h 653992"/>
                    <a:gd name="connsiteX32" fmla="*/ 318385 w 593129"/>
                    <a:gd name="connsiteY32" fmla="*/ 205843 h 653992"/>
                    <a:gd name="connsiteX33" fmla="*/ 319593 w 593129"/>
                    <a:gd name="connsiteY33" fmla="*/ 182503 h 653992"/>
                    <a:gd name="connsiteX34" fmla="*/ 273960 w 593129"/>
                    <a:gd name="connsiteY34" fmla="*/ 199029 h 653992"/>
                    <a:gd name="connsiteX35" fmla="*/ 255100 w 593129"/>
                    <a:gd name="connsiteY35" fmla="*/ 250913 h 653992"/>
                    <a:gd name="connsiteX36" fmla="*/ 271063 w 593129"/>
                    <a:gd name="connsiteY36" fmla="*/ 299631 h 653992"/>
                    <a:gd name="connsiteX37" fmla="*/ 318842 w 593129"/>
                    <a:gd name="connsiteY37" fmla="*/ 319403 h 653992"/>
                    <a:gd name="connsiteX38" fmla="*/ 363724 w 593129"/>
                    <a:gd name="connsiteY38" fmla="*/ 302797 h 653992"/>
                    <a:gd name="connsiteX39" fmla="*/ 382583 w 593129"/>
                    <a:gd name="connsiteY39" fmla="*/ 250886 h 653992"/>
                    <a:gd name="connsiteX40" fmla="*/ 366621 w 593129"/>
                    <a:gd name="connsiteY40" fmla="*/ 202275 h 653992"/>
                    <a:gd name="connsiteX41" fmla="*/ 319593 w 593129"/>
                    <a:gd name="connsiteY41" fmla="*/ 182503 h 653992"/>
                    <a:gd name="connsiteX42" fmla="*/ 202358 w 593129"/>
                    <a:gd name="connsiteY42" fmla="*/ 182503 h 653992"/>
                    <a:gd name="connsiteX43" fmla="*/ 159354 w 593129"/>
                    <a:gd name="connsiteY43" fmla="*/ 196319 h 653992"/>
                    <a:gd name="connsiteX44" fmla="*/ 136873 w 593129"/>
                    <a:gd name="connsiteY44" fmla="*/ 252120 h 653992"/>
                    <a:gd name="connsiteX45" fmla="*/ 145001 w 593129"/>
                    <a:gd name="connsiteY45" fmla="*/ 289061 h 653992"/>
                    <a:gd name="connsiteX46" fmla="*/ 171775 w 593129"/>
                    <a:gd name="connsiteY46" fmla="*/ 313796 h 653992"/>
                    <a:gd name="connsiteX47" fmla="*/ 203887 w 593129"/>
                    <a:gd name="connsiteY47" fmla="*/ 319403 h 653992"/>
                    <a:gd name="connsiteX48" fmla="*/ 231492 w 593129"/>
                    <a:gd name="connsiteY48" fmla="*/ 315754 h 653992"/>
                    <a:gd name="connsiteX49" fmla="*/ 246033 w 593129"/>
                    <a:gd name="connsiteY49" fmla="*/ 309664 h 653992"/>
                    <a:gd name="connsiteX50" fmla="*/ 237368 w 593129"/>
                    <a:gd name="connsiteY50" fmla="*/ 285869 h 653992"/>
                    <a:gd name="connsiteX51" fmla="*/ 225054 w 593129"/>
                    <a:gd name="connsiteY51" fmla="*/ 292227 h 653992"/>
                    <a:gd name="connsiteX52" fmla="*/ 205926 w 593129"/>
                    <a:gd name="connsiteY52" fmla="*/ 296063 h 653992"/>
                    <a:gd name="connsiteX53" fmla="*/ 180279 w 593129"/>
                    <a:gd name="connsiteY53" fmla="*/ 286647 h 653992"/>
                    <a:gd name="connsiteX54" fmla="*/ 167670 w 593129"/>
                    <a:gd name="connsiteY54" fmla="*/ 250806 h 653992"/>
                    <a:gd name="connsiteX55" fmla="*/ 177382 w 593129"/>
                    <a:gd name="connsiteY55" fmla="*/ 217781 h 653992"/>
                    <a:gd name="connsiteX56" fmla="*/ 204155 w 593129"/>
                    <a:gd name="connsiteY56" fmla="*/ 205843 h 653992"/>
                    <a:gd name="connsiteX57" fmla="*/ 234282 w 593129"/>
                    <a:gd name="connsiteY57" fmla="*/ 214428 h 653992"/>
                    <a:gd name="connsiteX58" fmla="*/ 244262 w 593129"/>
                    <a:gd name="connsiteY58" fmla="*/ 192027 h 653992"/>
                    <a:gd name="connsiteX59" fmla="*/ 232136 w 593129"/>
                    <a:gd name="connsiteY59" fmla="*/ 187171 h 653992"/>
                    <a:gd name="connsiteX60" fmla="*/ 202358 w 593129"/>
                    <a:gd name="connsiteY60" fmla="*/ 182503 h 653992"/>
                    <a:gd name="connsiteX61" fmla="*/ 333194 w 593129"/>
                    <a:gd name="connsiteY61" fmla="*/ 24 h 653992"/>
                    <a:gd name="connsiteX62" fmla="*/ 483025 w 593129"/>
                    <a:gd name="connsiteY62" fmla="*/ 138668 h 653992"/>
                    <a:gd name="connsiteX63" fmla="*/ 593016 w 593129"/>
                    <a:gd name="connsiteY63" fmla="*/ 267868 h 653992"/>
                    <a:gd name="connsiteX64" fmla="*/ 475674 w 593129"/>
                    <a:gd name="connsiteY64" fmla="*/ 380247 h 653992"/>
                    <a:gd name="connsiteX65" fmla="*/ 80669 w 593129"/>
                    <a:gd name="connsiteY65" fmla="*/ 380247 h 653992"/>
                    <a:gd name="connsiteX66" fmla="*/ 0 w 593129"/>
                    <a:gd name="connsiteY66" fmla="*/ 288873 h 653992"/>
                    <a:gd name="connsiteX67" fmla="*/ 70207 w 593129"/>
                    <a:gd name="connsiteY67" fmla="*/ 211155 h 653992"/>
                    <a:gd name="connsiteX68" fmla="*/ 184411 w 593129"/>
                    <a:gd name="connsiteY68" fmla="*/ 101914 h 653992"/>
                    <a:gd name="connsiteX69" fmla="*/ 333194 w 593129"/>
                    <a:gd name="connsiteY69" fmla="*/ 24 h 65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93129" h="653992">
                      <a:moveTo>
                        <a:pt x="273771" y="410642"/>
                      </a:moveTo>
                      <a:lnTo>
                        <a:pt x="319404" y="410642"/>
                      </a:lnTo>
                      <a:lnTo>
                        <a:pt x="322892" y="560258"/>
                      </a:lnTo>
                      <a:lnTo>
                        <a:pt x="386553" y="510439"/>
                      </a:lnTo>
                      <a:lnTo>
                        <a:pt x="410644" y="535496"/>
                      </a:lnTo>
                      <a:lnTo>
                        <a:pt x="296575" y="653992"/>
                      </a:lnTo>
                      <a:lnTo>
                        <a:pt x="182505" y="535496"/>
                      </a:lnTo>
                      <a:lnTo>
                        <a:pt x="206623" y="510439"/>
                      </a:lnTo>
                      <a:lnTo>
                        <a:pt x="270284" y="560258"/>
                      </a:lnTo>
                      <a:close/>
                      <a:moveTo>
                        <a:pt x="429692" y="243294"/>
                      </a:moveTo>
                      <a:cubicBezTo>
                        <a:pt x="420115" y="243294"/>
                        <a:pt x="410886" y="245199"/>
                        <a:pt x="401980" y="248981"/>
                      </a:cubicBezTo>
                      <a:lnTo>
                        <a:pt x="405440" y="264836"/>
                      </a:lnTo>
                      <a:cubicBezTo>
                        <a:pt x="414722" y="261054"/>
                        <a:pt x="421832" y="259149"/>
                        <a:pt x="426822" y="259149"/>
                      </a:cubicBezTo>
                      <a:cubicBezTo>
                        <a:pt x="434360" y="259149"/>
                        <a:pt x="438116" y="261832"/>
                        <a:pt x="438116" y="267170"/>
                      </a:cubicBezTo>
                      <a:cubicBezTo>
                        <a:pt x="438116" y="272455"/>
                        <a:pt x="433260" y="278920"/>
                        <a:pt x="423549" y="286566"/>
                      </a:cubicBezTo>
                      <a:cubicBezTo>
                        <a:pt x="415018" y="293354"/>
                        <a:pt x="408150" y="298290"/>
                        <a:pt x="402918" y="301402"/>
                      </a:cubicBezTo>
                      <a:lnTo>
                        <a:pt x="402918" y="317069"/>
                      </a:lnTo>
                      <a:lnTo>
                        <a:pt x="459470" y="317069"/>
                      </a:lnTo>
                      <a:lnTo>
                        <a:pt x="459470" y="301429"/>
                      </a:lnTo>
                      <a:lnTo>
                        <a:pt x="430551" y="301429"/>
                      </a:lnTo>
                      <a:cubicBezTo>
                        <a:pt x="440798" y="294024"/>
                        <a:pt x="448364" y="287317"/>
                        <a:pt x="453219" y="281281"/>
                      </a:cubicBezTo>
                      <a:cubicBezTo>
                        <a:pt x="457002" y="276667"/>
                        <a:pt x="458907" y="271355"/>
                        <a:pt x="458907" y="265319"/>
                      </a:cubicBezTo>
                      <a:cubicBezTo>
                        <a:pt x="458907" y="257861"/>
                        <a:pt x="456305" y="252308"/>
                        <a:pt x="451154" y="248713"/>
                      </a:cubicBezTo>
                      <a:cubicBezTo>
                        <a:pt x="445976" y="245091"/>
                        <a:pt x="438840" y="243294"/>
                        <a:pt x="429692" y="243294"/>
                      </a:cubicBezTo>
                      <a:close/>
                      <a:moveTo>
                        <a:pt x="318385" y="205843"/>
                      </a:moveTo>
                      <a:cubicBezTo>
                        <a:pt x="328445" y="205843"/>
                        <a:pt x="336440" y="209652"/>
                        <a:pt x="342342" y="217352"/>
                      </a:cubicBezTo>
                      <a:cubicBezTo>
                        <a:pt x="348619" y="225427"/>
                        <a:pt x="351758" y="236641"/>
                        <a:pt x="351758" y="250940"/>
                      </a:cubicBezTo>
                      <a:cubicBezTo>
                        <a:pt x="351758" y="264058"/>
                        <a:pt x="349102" y="274601"/>
                        <a:pt x="343817" y="282569"/>
                      </a:cubicBezTo>
                      <a:cubicBezTo>
                        <a:pt x="337861" y="291583"/>
                        <a:pt x="329518" y="296090"/>
                        <a:pt x="318814" y="296090"/>
                      </a:cubicBezTo>
                      <a:cubicBezTo>
                        <a:pt x="309049" y="296090"/>
                        <a:pt x="301215" y="292254"/>
                        <a:pt x="295313" y="284608"/>
                      </a:cubicBezTo>
                      <a:cubicBezTo>
                        <a:pt x="289036" y="276506"/>
                        <a:pt x="285897" y="265292"/>
                        <a:pt x="285897" y="250913"/>
                      </a:cubicBezTo>
                      <a:cubicBezTo>
                        <a:pt x="285897" y="237902"/>
                        <a:pt x="288553" y="227358"/>
                        <a:pt x="293838" y="219283"/>
                      </a:cubicBezTo>
                      <a:cubicBezTo>
                        <a:pt x="299686" y="210323"/>
                        <a:pt x="307869" y="205843"/>
                        <a:pt x="318385" y="205843"/>
                      </a:cubicBezTo>
                      <a:close/>
                      <a:moveTo>
                        <a:pt x="319593" y="182503"/>
                      </a:moveTo>
                      <a:cubicBezTo>
                        <a:pt x="300063" y="182503"/>
                        <a:pt x="284852" y="188030"/>
                        <a:pt x="273960" y="199029"/>
                      </a:cubicBezTo>
                      <a:cubicBezTo>
                        <a:pt x="261378" y="211852"/>
                        <a:pt x="255100" y="229129"/>
                        <a:pt x="255100" y="250913"/>
                      </a:cubicBezTo>
                      <a:cubicBezTo>
                        <a:pt x="255100" y="270765"/>
                        <a:pt x="260412" y="286995"/>
                        <a:pt x="271063" y="299631"/>
                      </a:cubicBezTo>
                      <a:cubicBezTo>
                        <a:pt x="282142" y="312803"/>
                        <a:pt x="298078" y="319403"/>
                        <a:pt x="318842" y="319403"/>
                      </a:cubicBezTo>
                      <a:cubicBezTo>
                        <a:pt x="337943" y="319403"/>
                        <a:pt x="352913" y="313876"/>
                        <a:pt x="363724" y="302797"/>
                      </a:cubicBezTo>
                      <a:cubicBezTo>
                        <a:pt x="376279" y="289973"/>
                        <a:pt x="382583" y="272670"/>
                        <a:pt x="382583" y="250886"/>
                      </a:cubicBezTo>
                      <a:cubicBezTo>
                        <a:pt x="382583" y="231114"/>
                        <a:pt x="377272" y="214911"/>
                        <a:pt x="366621" y="202275"/>
                      </a:cubicBezTo>
                      <a:cubicBezTo>
                        <a:pt x="355542" y="189103"/>
                        <a:pt x="339874" y="182503"/>
                        <a:pt x="319593" y="182503"/>
                      </a:cubicBezTo>
                      <a:close/>
                      <a:moveTo>
                        <a:pt x="202358" y="182503"/>
                      </a:moveTo>
                      <a:cubicBezTo>
                        <a:pt x="184572" y="182503"/>
                        <a:pt x="170246" y="187118"/>
                        <a:pt x="159354" y="196319"/>
                      </a:cubicBezTo>
                      <a:cubicBezTo>
                        <a:pt x="144357" y="208955"/>
                        <a:pt x="136873" y="227546"/>
                        <a:pt x="136873" y="252120"/>
                      </a:cubicBezTo>
                      <a:cubicBezTo>
                        <a:pt x="136873" y="266660"/>
                        <a:pt x="139582" y="278974"/>
                        <a:pt x="145001" y="289061"/>
                      </a:cubicBezTo>
                      <a:cubicBezTo>
                        <a:pt x="151037" y="300329"/>
                        <a:pt x="159944" y="308565"/>
                        <a:pt x="171775" y="313796"/>
                      </a:cubicBezTo>
                      <a:cubicBezTo>
                        <a:pt x="180252" y="317525"/>
                        <a:pt x="190956" y="319403"/>
                        <a:pt x="203887" y="319403"/>
                      </a:cubicBezTo>
                      <a:cubicBezTo>
                        <a:pt x="214564" y="319403"/>
                        <a:pt x="223766" y="318169"/>
                        <a:pt x="231492" y="315754"/>
                      </a:cubicBezTo>
                      <a:cubicBezTo>
                        <a:pt x="235302" y="314574"/>
                        <a:pt x="240158" y="312562"/>
                        <a:pt x="246033" y="309664"/>
                      </a:cubicBezTo>
                      <a:lnTo>
                        <a:pt x="237368" y="285869"/>
                      </a:lnTo>
                      <a:cubicBezTo>
                        <a:pt x="232646" y="288686"/>
                        <a:pt x="228541" y="290805"/>
                        <a:pt x="225054" y="292227"/>
                      </a:cubicBezTo>
                      <a:cubicBezTo>
                        <a:pt x="218964" y="294802"/>
                        <a:pt x="212579" y="296063"/>
                        <a:pt x="205926" y="296063"/>
                      </a:cubicBezTo>
                      <a:cubicBezTo>
                        <a:pt x="195356" y="296063"/>
                        <a:pt x="186798" y="292924"/>
                        <a:pt x="180279" y="286647"/>
                      </a:cubicBezTo>
                      <a:cubicBezTo>
                        <a:pt x="171882" y="278491"/>
                        <a:pt x="167670" y="266553"/>
                        <a:pt x="167670" y="250806"/>
                      </a:cubicBezTo>
                      <a:cubicBezTo>
                        <a:pt x="167670" y="237124"/>
                        <a:pt x="170916" y="226124"/>
                        <a:pt x="177382" y="217781"/>
                      </a:cubicBezTo>
                      <a:cubicBezTo>
                        <a:pt x="183525" y="209813"/>
                        <a:pt x="192459" y="205843"/>
                        <a:pt x="204155" y="205843"/>
                      </a:cubicBezTo>
                      <a:cubicBezTo>
                        <a:pt x="213733" y="205843"/>
                        <a:pt x="223766" y="208714"/>
                        <a:pt x="234282" y="214428"/>
                      </a:cubicBezTo>
                      <a:lnTo>
                        <a:pt x="244262" y="192027"/>
                      </a:lnTo>
                      <a:cubicBezTo>
                        <a:pt x="239406" y="189854"/>
                        <a:pt x="235382" y="188218"/>
                        <a:pt x="232136" y="187171"/>
                      </a:cubicBezTo>
                      <a:cubicBezTo>
                        <a:pt x="222800" y="184059"/>
                        <a:pt x="212874" y="182503"/>
                        <a:pt x="202358" y="182503"/>
                      </a:cubicBezTo>
                      <a:close/>
                      <a:moveTo>
                        <a:pt x="333194" y="24"/>
                      </a:moveTo>
                      <a:cubicBezTo>
                        <a:pt x="333194" y="24"/>
                        <a:pt x="456841" y="-5234"/>
                        <a:pt x="483025" y="138668"/>
                      </a:cubicBezTo>
                      <a:cubicBezTo>
                        <a:pt x="483025" y="138668"/>
                        <a:pt x="597228" y="143926"/>
                        <a:pt x="593016" y="267868"/>
                      </a:cubicBezTo>
                      <a:cubicBezTo>
                        <a:pt x="593016" y="267868"/>
                        <a:pt x="593016" y="377108"/>
                        <a:pt x="475674" y="380247"/>
                      </a:cubicBezTo>
                      <a:cubicBezTo>
                        <a:pt x="475674" y="380247"/>
                        <a:pt x="475674" y="380247"/>
                        <a:pt x="80669" y="380247"/>
                      </a:cubicBezTo>
                      <a:cubicBezTo>
                        <a:pt x="80669" y="380247"/>
                        <a:pt x="0" y="376035"/>
                        <a:pt x="0" y="288873"/>
                      </a:cubicBezTo>
                      <a:cubicBezTo>
                        <a:pt x="0" y="288873"/>
                        <a:pt x="0" y="222717"/>
                        <a:pt x="70207" y="211155"/>
                      </a:cubicBezTo>
                      <a:cubicBezTo>
                        <a:pt x="70207" y="211155"/>
                        <a:pt x="64976" y="101914"/>
                        <a:pt x="184411" y="101914"/>
                      </a:cubicBezTo>
                      <a:cubicBezTo>
                        <a:pt x="184411" y="101914"/>
                        <a:pt x="217945" y="24"/>
                        <a:pt x="333194" y="24"/>
                      </a:cubicBezTo>
                      <a:close/>
                    </a:path>
                  </a:pathLst>
                </a:custGeom>
                <a:solidFill>
                  <a:schemeClr val="bg1"/>
                </a:solidFill>
                <a:ln w="2681" cap="flat">
                  <a:noFill/>
                  <a:prstDash val="solid"/>
                  <a:miter/>
                </a:ln>
              </p:spPr>
              <p:txBody>
                <a:bodyPr rtlCol="0" anchor="ctr"/>
                <a:lstStyle/>
                <a:p>
                  <a:endParaRPr lang="en-US" sz="2000"/>
                </a:p>
              </p:txBody>
            </p:sp>
          </p:grpSp>
          <p:grpSp>
            <p:nvGrpSpPr>
              <p:cNvPr id="13" name="Gruppieren 12">
                <a:extLst>
                  <a:ext uri="{FF2B5EF4-FFF2-40B4-BE49-F238E27FC236}">
                    <a16:creationId xmlns:a16="http://schemas.microsoft.com/office/drawing/2014/main" id="{F0CEEE5C-AD31-0547-B035-C4798AA00977}"/>
                  </a:ext>
                </a:extLst>
              </p:cNvPr>
              <p:cNvGrpSpPr>
                <a:grpSpLocks/>
              </p:cNvGrpSpPr>
              <p:nvPr/>
            </p:nvGrpSpPr>
            <p:grpSpPr>
              <a:xfrm>
                <a:off x="7045393" y="4466205"/>
                <a:ext cx="946254" cy="946254"/>
                <a:chOff x="6893501" y="5238127"/>
                <a:chExt cx="1027892" cy="1027892"/>
              </a:xfrm>
            </p:grpSpPr>
            <p:sp>
              <p:nvSpPr>
                <p:cNvPr id="32" name="Ellipse 31">
                  <a:extLst>
                    <a:ext uri="{FF2B5EF4-FFF2-40B4-BE49-F238E27FC236}">
                      <a16:creationId xmlns:a16="http://schemas.microsoft.com/office/drawing/2014/main" id="{49DAAC28-7DC6-AF12-10E5-A37B6AC5C8A6}"/>
                    </a:ext>
                  </a:extLst>
                </p:cNvPr>
                <p:cNvSpPr>
                  <a:spLocks/>
                </p:cNvSpPr>
                <p:nvPr/>
              </p:nvSpPr>
              <p:spPr bwMode="gray">
                <a:xfrm>
                  <a:off x="6893501" y="5238127"/>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sp>
              <p:nvSpPr>
                <p:cNvPr id="34" name="Freeform 110">
                  <a:extLst>
                    <a:ext uri="{FF2B5EF4-FFF2-40B4-BE49-F238E27FC236}">
                      <a16:creationId xmlns:a16="http://schemas.microsoft.com/office/drawing/2014/main" id="{E76763A1-C008-5B3E-2225-02C76833A44F}"/>
                    </a:ext>
                  </a:extLst>
                </p:cNvPr>
                <p:cNvSpPr>
                  <a:spLocks noEditPoints="1"/>
                </p:cNvSpPr>
                <p:nvPr>
                  <p:custDataLst>
                    <p:tags r:id="rId2"/>
                  </p:custDataLst>
                </p:nvPr>
              </p:nvSpPr>
              <p:spPr bwMode="auto">
                <a:xfrm>
                  <a:off x="7161556" y="5508051"/>
                  <a:ext cx="491782" cy="488044"/>
                </a:xfrm>
                <a:custGeom>
                  <a:avLst/>
                  <a:gdLst>
                    <a:gd name="T0" fmla="*/ 1055 w 2591"/>
                    <a:gd name="T1" fmla="*/ 2208 h 2570"/>
                    <a:gd name="T2" fmla="*/ 945 w 2591"/>
                    <a:gd name="T3" fmla="*/ 2570 h 2570"/>
                    <a:gd name="T4" fmla="*/ 0 w 2591"/>
                    <a:gd name="T5" fmla="*/ 1625 h 2570"/>
                    <a:gd name="T6" fmla="*/ 472 w 2591"/>
                    <a:gd name="T7" fmla="*/ 1927 h 2570"/>
                    <a:gd name="T8" fmla="*/ 945 w 2591"/>
                    <a:gd name="T9" fmla="*/ 1625 h 2570"/>
                    <a:gd name="T10" fmla="*/ 1055 w 2591"/>
                    <a:gd name="T11" fmla="*/ 1988 h 2570"/>
                    <a:gd name="T12" fmla="*/ 1247 w 2591"/>
                    <a:gd name="T13" fmla="*/ 2098 h 2570"/>
                    <a:gd name="T14" fmla="*/ 363 w 2591"/>
                    <a:gd name="T15" fmla="*/ 1584 h 2570"/>
                    <a:gd name="T16" fmla="*/ 472 w 2591"/>
                    <a:gd name="T17" fmla="*/ 1776 h 2570"/>
                    <a:gd name="T18" fmla="*/ 582 w 2591"/>
                    <a:gd name="T19" fmla="*/ 1584 h 2570"/>
                    <a:gd name="T20" fmla="*/ 945 w 2591"/>
                    <a:gd name="T21" fmla="*/ 1474 h 2570"/>
                    <a:gd name="T22" fmla="*/ 835 w 2591"/>
                    <a:gd name="T23" fmla="*/ 1093 h 2570"/>
                    <a:gd name="T24" fmla="*/ 643 w 2591"/>
                    <a:gd name="T25" fmla="*/ 982 h 2570"/>
                    <a:gd name="T26" fmla="*/ 835 w 2591"/>
                    <a:gd name="T27" fmla="*/ 873 h 2570"/>
                    <a:gd name="T28" fmla="*/ 945 w 2591"/>
                    <a:gd name="T29" fmla="*/ 529 h 2570"/>
                    <a:gd name="T30" fmla="*/ 0 w 2591"/>
                    <a:gd name="T31" fmla="*/ 1474 h 2570"/>
                    <a:gd name="T32" fmla="*/ 363 w 2591"/>
                    <a:gd name="T33" fmla="*/ 1584 h 2570"/>
                    <a:gd name="T34" fmla="*/ 2252 w 2591"/>
                    <a:gd name="T35" fmla="*/ 1011 h 2570"/>
                    <a:gd name="T36" fmla="*/ 2461 w 2591"/>
                    <a:gd name="T37" fmla="*/ 531 h 2570"/>
                    <a:gd name="T38" fmla="*/ 2299 w 2591"/>
                    <a:gd name="T39" fmla="*/ 609 h 2570"/>
                    <a:gd name="T40" fmla="*/ 2210 w 2591"/>
                    <a:gd name="T41" fmla="*/ 366 h 2570"/>
                    <a:gd name="T42" fmla="*/ 2385 w 2591"/>
                    <a:gd name="T43" fmla="*/ 321 h 2570"/>
                    <a:gd name="T44" fmla="*/ 1380 w 2591"/>
                    <a:gd name="T45" fmla="*/ 323 h 2570"/>
                    <a:gd name="T46" fmla="*/ 2042 w 2591"/>
                    <a:gd name="T47" fmla="*/ 1088 h 2570"/>
                    <a:gd name="T48" fmla="*/ 2087 w 2591"/>
                    <a:gd name="T49" fmla="*/ 1262 h 2570"/>
                    <a:gd name="T50" fmla="*/ 2330 w 2591"/>
                    <a:gd name="T51" fmla="*/ 1174 h 2570"/>
                    <a:gd name="T52" fmla="*/ 1679 w 2591"/>
                    <a:gd name="T53" fmla="*/ 1515 h 2570"/>
                    <a:gd name="T54" fmla="*/ 1569 w 2591"/>
                    <a:gd name="T55" fmla="*/ 1323 h 2570"/>
                    <a:gd name="T56" fmla="*/ 1459 w 2591"/>
                    <a:gd name="T57" fmla="*/ 1515 h 2570"/>
                    <a:gd name="T58" fmla="*/ 1096 w 2591"/>
                    <a:gd name="T59" fmla="*/ 1625 h 2570"/>
                    <a:gd name="T60" fmla="*/ 1398 w 2591"/>
                    <a:gd name="T61" fmla="*/ 2098 h 2570"/>
                    <a:gd name="T62" fmla="*/ 1096 w 2591"/>
                    <a:gd name="T63" fmla="*/ 2570 h 2570"/>
                    <a:gd name="T64" fmla="*/ 2041 w 2591"/>
                    <a:gd name="T65" fmla="*/ 1625 h 2570"/>
                    <a:gd name="T66" fmla="*/ 1679 w 2591"/>
                    <a:gd name="T67" fmla="*/ 1515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91" h="2570">
                      <a:moveTo>
                        <a:pt x="1124" y="2227"/>
                      </a:moveTo>
                      <a:cubicBezTo>
                        <a:pt x="1101" y="2227"/>
                        <a:pt x="1077" y="2217"/>
                        <a:pt x="1055" y="2208"/>
                      </a:cubicBezTo>
                      <a:cubicBezTo>
                        <a:pt x="1010" y="2188"/>
                        <a:pt x="957" y="2152"/>
                        <a:pt x="945" y="2209"/>
                      </a:cubicBezTo>
                      <a:cubicBezTo>
                        <a:pt x="945" y="2570"/>
                        <a:pt x="945" y="2570"/>
                        <a:pt x="945" y="2570"/>
                      </a:cubicBezTo>
                      <a:cubicBezTo>
                        <a:pt x="0" y="2570"/>
                        <a:pt x="0" y="2570"/>
                        <a:pt x="0" y="2570"/>
                      </a:cubicBezTo>
                      <a:cubicBezTo>
                        <a:pt x="0" y="1625"/>
                        <a:pt x="0" y="1625"/>
                        <a:pt x="0" y="1625"/>
                      </a:cubicBezTo>
                      <a:cubicBezTo>
                        <a:pt x="170" y="1625"/>
                        <a:pt x="170" y="1625"/>
                        <a:pt x="170" y="1625"/>
                      </a:cubicBezTo>
                      <a:cubicBezTo>
                        <a:pt x="170" y="1792"/>
                        <a:pt x="305" y="1927"/>
                        <a:pt x="472" y="1927"/>
                      </a:cubicBezTo>
                      <a:cubicBezTo>
                        <a:pt x="639" y="1927"/>
                        <a:pt x="775" y="1792"/>
                        <a:pt x="775" y="1625"/>
                      </a:cubicBezTo>
                      <a:cubicBezTo>
                        <a:pt x="945" y="1625"/>
                        <a:pt x="945" y="1625"/>
                        <a:pt x="945" y="1625"/>
                      </a:cubicBezTo>
                      <a:cubicBezTo>
                        <a:pt x="945" y="1986"/>
                        <a:pt x="945" y="1986"/>
                        <a:pt x="945" y="1986"/>
                      </a:cubicBezTo>
                      <a:cubicBezTo>
                        <a:pt x="957" y="2043"/>
                        <a:pt x="1010" y="2007"/>
                        <a:pt x="1055" y="1988"/>
                      </a:cubicBezTo>
                      <a:cubicBezTo>
                        <a:pt x="1077" y="1978"/>
                        <a:pt x="1101" y="1968"/>
                        <a:pt x="1124" y="1968"/>
                      </a:cubicBezTo>
                      <a:cubicBezTo>
                        <a:pt x="1193" y="1968"/>
                        <a:pt x="1247" y="2026"/>
                        <a:pt x="1247" y="2098"/>
                      </a:cubicBezTo>
                      <a:cubicBezTo>
                        <a:pt x="1247" y="2169"/>
                        <a:pt x="1192" y="2227"/>
                        <a:pt x="1124" y="2227"/>
                      </a:cubicBezTo>
                      <a:close/>
                      <a:moveTo>
                        <a:pt x="363" y="1584"/>
                      </a:moveTo>
                      <a:cubicBezTo>
                        <a:pt x="353" y="1606"/>
                        <a:pt x="343" y="1630"/>
                        <a:pt x="343" y="1653"/>
                      </a:cubicBezTo>
                      <a:cubicBezTo>
                        <a:pt x="343" y="1722"/>
                        <a:pt x="401" y="1776"/>
                        <a:pt x="472" y="1776"/>
                      </a:cubicBezTo>
                      <a:cubicBezTo>
                        <a:pt x="544" y="1776"/>
                        <a:pt x="602" y="1722"/>
                        <a:pt x="602" y="1653"/>
                      </a:cubicBezTo>
                      <a:cubicBezTo>
                        <a:pt x="602" y="1630"/>
                        <a:pt x="592" y="1606"/>
                        <a:pt x="582" y="1584"/>
                      </a:cubicBezTo>
                      <a:cubicBezTo>
                        <a:pt x="563" y="1539"/>
                        <a:pt x="527" y="1486"/>
                        <a:pt x="584" y="1474"/>
                      </a:cubicBezTo>
                      <a:cubicBezTo>
                        <a:pt x="945" y="1474"/>
                        <a:pt x="945" y="1474"/>
                        <a:pt x="945" y="1474"/>
                      </a:cubicBezTo>
                      <a:cubicBezTo>
                        <a:pt x="945" y="1094"/>
                        <a:pt x="945" y="1094"/>
                        <a:pt x="945" y="1094"/>
                      </a:cubicBezTo>
                      <a:cubicBezTo>
                        <a:pt x="932" y="1037"/>
                        <a:pt x="880" y="1073"/>
                        <a:pt x="835" y="1093"/>
                      </a:cubicBezTo>
                      <a:cubicBezTo>
                        <a:pt x="813" y="1102"/>
                        <a:pt x="789" y="1112"/>
                        <a:pt x="765" y="1112"/>
                      </a:cubicBezTo>
                      <a:cubicBezTo>
                        <a:pt x="697" y="1112"/>
                        <a:pt x="643" y="1054"/>
                        <a:pt x="643" y="982"/>
                      </a:cubicBezTo>
                      <a:cubicBezTo>
                        <a:pt x="643" y="911"/>
                        <a:pt x="697" y="853"/>
                        <a:pt x="765" y="853"/>
                      </a:cubicBezTo>
                      <a:cubicBezTo>
                        <a:pt x="789" y="853"/>
                        <a:pt x="813" y="863"/>
                        <a:pt x="835" y="873"/>
                      </a:cubicBezTo>
                      <a:cubicBezTo>
                        <a:pt x="880" y="892"/>
                        <a:pt x="932" y="928"/>
                        <a:pt x="945" y="871"/>
                      </a:cubicBezTo>
                      <a:cubicBezTo>
                        <a:pt x="945" y="529"/>
                        <a:pt x="945" y="529"/>
                        <a:pt x="945" y="529"/>
                      </a:cubicBezTo>
                      <a:cubicBezTo>
                        <a:pt x="0" y="529"/>
                        <a:pt x="0" y="529"/>
                        <a:pt x="0" y="529"/>
                      </a:cubicBezTo>
                      <a:cubicBezTo>
                        <a:pt x="0" y="1474"/>
                        <a:pt x="0" y="1474"/>
                        <a:pt x="0" y="1474"/>
                      </a:cubicBezTo>
                      <a:cubicBezTo>
                        <a:pt x="361" y="1474"/>
                        <a:pt x="361" y="1474"/>
                        <a:pt x="361" y="1474"/>
                      </a:cubicBezTo>
                      <a:cubicBezTo>
                        <a:pt x="418" y="1486"/>
                        <a:pt x="382" y="1539"/>
                        <a:pt x="363" y="1584"/>
                      </a:cubicBezTo>
                      <a:close/>
                      <a:moveTo>
                        <a:pt x="2288" y="1116"/>
                      </a:moveTo>
                      <a:cubicBezTo>
                        <a:pt x="2254" y="1079"/>
                        <a:pt x="2203" y="1042"/>
                        <a:pt x="2252" y="1011"/>
                      </a:cubicBezTo>
                      <a:cubicBezTo>
                        <a:pt x="2591" y="888"/>
                        <a:pt x="2591" y="888"/>
                        <a:pt x="2591" y="888"/>
                      </a:cubicBezTo>
                      <a:cubicBezTo>
                        <a:pt x="2461" y="531"/>
                        <a:pt x="2461" y="531"/>
                        <a:pt x="2461" y="531"/>
                      </a:cubicBezTo>
                      <a:cubicBezTo>
                        <a:pt x="2430" y="482"/>
                        <a:pt x="2393" y="533"/>
                        <a:pt x="2357" y="567"/>
                      </a:cubicBezTo>
                      <a:cubicBezTo>
                        <a:pt x="2339" y="583"/>
                        <a:pt x="2321" y="601"/>
                        <a:pt x="2299" y="609"/>
                      </a:cubicBezTo>
                      <a:cubicBezTo>
                        <a:pt x="2235" y="633"/>
                        <a:pt x="2163" y="597"/>
                        <a:pt x="2139" y="529"/>
                      </a:cubicBezTo>
                      <a:cubicBezTo>
                        <a:pt x="2114" y="462"/>
                        <a:pt x="2146" y="389"/>
                        <a:pt x="2210" y="366"/>
                      </a:cubicBezTo>
                      <a:cubicBezTo>
                        <a:pt x="2232" y="358"/>
                        <a:pt x="2258" y="359"/>
                        <a:pt x="2282" y="361"/>
                      </a:cubicBezTo>
                      <a:cubicBezTo>
                        <a:pt x="2331" y="363"/>
                        <a:pt x="2392" y="379"/>
                        <a:pt x="2385" y="321"/>
                      </a:cubicBezTo>
                      <a:cubicBezTo>
                        <a:pt x="2268" y="0"/>
                        <a:pt x="2268" y="0"/>
                        <a:pt x="2268" y="0"/>
                      </a:cubicBezTo>
                      <a:cubicBezTo>
                        <a:pt x="1380" y="323"/>
                        <a:pt x="1380" y="323"/>
                        <a:pt x="1380" y="323"/>
                      </a:cubicBezTo>
                      <a:cubicBezTo>
                        <a:pt x="1703" y="1211"/>
                        <a:pt x="1703" y="1211"/>
                        <a:pt x="1703" y="1211"/>
                      </a:cubicBezTo>
                      <a:cubicBezTo>
                        <a:pt x="2042" y="1088"/>
                        <a:pt x="2042" y="1088"/>
                        <a:pt x="2042" y="1088"/>
                      </a:cubicBezTo>
                      <a:cubicBezTo>
                        <a:pt x="2100" y="1080"/>
                        <a:pt x="2084" y="1141"/>
                        <a:pt x="2081" y="1191"/>
                      </a:cubicBezTo>
                      <a:cubicBezTo>
                        <a:pt x="2080" y="1214"/>
                        <a:pt x="2078" y="1240"/>
                        <a:pt x="2087" y="1262"/>
                      </a:cubicBezTo>
                      <a:cubicBezTo>
                        <a:pt x="2110" y="1326"/>
                        <a:pt x="2183" y="1358"/>
                        <a:pt x="2250" y="1334"/>
                      </a:cubicBezTo>
                      <a:cubicBezTo>
                        <a:pt x="2318" y="1309"/>
                        <a:pt x="2353" y="1238"/>
                        <a:pt x="2330" y="1174"/>
                      </a:cubicBezTo>
                      <a:cubicBezTo>
                        <a:pt x="2322" y="1151"/>
                        <a:pt x="2304" y="1133"/>
                        <a:pt x="2288" y="1116"/>
                      </a:cubicBezTo>
                      <a:close/>
                      <a:moveTo>
                        <a:pt x="1679" y="1515"/>
                      </a:moveTo>
                      <a:cubicBezTo>
                        <a:pt x="1688" y="1493"/>
                        <a:pt x="1698" y="1470"/>
                        <a:pt x="1698" y="1446"/>
                      </a:cubicBezTo>
                      <a:cubicBezTo>
                        <a:pt x="1698" y="1378"/>
                        <a:pt x="1640" y="1323"/>
                        <a:pt x="1569" y="1323"/>
                      </a:cubicBezTo>
                      <a:cubicBezTo>
                        <a:pt x="1497" y="1323"/>
                        <a:pt x="1439" y="1378"/>
                        <a:pt x="1439" y="1446"/>
                      </a:cubicBezTo>
                      <a:cubicBezTo>
                        <a:pt x="1439" y="1470"/>
                        <a:pt x="1449" y="1493"/>
                        <a:pt x="1459" y="1515"/>
                      </a:cubicBezTo>
                      <a:cubicBezTo>
                        <a:pt x="1478" y="1561"/>
                        <a:pt x="1514" y="1613"/>
                        <a:pt x="1457" y="1625"/>
                      </a:cubicBezTo>
                      <a:cubicBezTo>
                        <a:pt x="1096" y="1625"/>
                        <a:pt x="1096" y="1625"/>
                        <a:pt x="1096" y="1625"/>
                      </a:cubicBezTo>
                      <a:cubicBezTo>
                        <a:pt x="1096" y="1795"/>
                        <a:pt x="1096" y="1795"/>
                        <a:pt x="1096" y="1795"/>
                      </a:cubicBezTo>
                      <a:cubicBezTo>
                        <a:pt x="1263" y="1795"/>
                        <a:pt x="1398" y="1931"/>
                        <a:pt x="1398" y="2098"/>
                      </a:cubicBezTo>
                      <a:cubicBezTo>
                        <a:pt x="1398" y="2265"/>
                        <a:pt x="1263" y="2400"/>
                        <a:pt x="1096" y="2400"/>
                      </a:cubicBezTo>
                      <a:cubicBezTo>
                        <a:pt x="1096" y="2570"/>
                        <a:pt x="1096" y="2570"/>
                        <a:pt x="1096" y="2570"/>
                      </a:cubicBezTo>
                      <a:cubicBezTo>
                        <a:pt x="2041" y="2570"/>
                        <a:pt x="2041" y="2570"/>
                        <a:pt x="2041" y="2570"/>
                      </a:cubicBezTo>
                      <a:cubicBezTo>
                        <a:pt x="2041" y="1625"/>
                        <a:pt x="2041" y="1625"/>
                        <a:pt x="2041" y="1625"/>
                      </a:cubicBezTo>
                      <a:cubicBezTo>
                        <a:pt x="1680" y="1625"/>
                        <a:pt x="1680" y="1625"/>
                        <a:pt x="1680" y="1625"/>
                      </a:cubicBezTo>
                      <a:cubicBezTo>
                        <a:pt x="1623" y="1613"/>
                        <a:pt x="1659" y="1561"/>
                        <a:pt x="1679" y="15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fontAlgn="base">
                    <a:spcBef>
                      <a:spcPct val="50000"/>
                    </a:spcBef>
                    <a:spcAft>
                      <a:spcPct val="0"/>
                    </a:spcAft>
                  </a:pPr>
                  <a:endParaRPr lang="en-US" sz="2000">
                    <a:solidFill>
                      <a:srgbClr val="ADBECB"/>
                    </a:solidFill>
                    <a:ea typeface="ＭＳ Ｐゴシック" charset="-128"/>
                  </a:endParaRPr>
                </a:p>
              </p:txBody>
            </p:sp>
          </p:grpSp>
          <p:grpSp>
            <p:nvGrpSpPr>
              <p:cNvPr id="15" name="Gruppieren 14">
                <a:extLst>
                  <a:ext uri="{FF2B5EF4-FFF2-40B4-BE49-F238E27FC236}">
                    <a16:creationId xmlns:a16="http://schemas.microsoft.com/office/drawing/2014/main" id="{6C5B35D3-B568-7FBB-4CBE-3277DC25F3AB}"/>
                  </a:ext>
                </a:extLst>
              </p:cNvPr>
              <p:cNvGrpSpPr>
                <a:grpSpLocks/>
              </p:cNvGrpSpPr>
              <p:nvPr/>
            </p:nvGrpSpPr>
            <p:grpSpPr>
              <a:xfrm>
                <a:off x="4184939" y="4466205"/>
                <a:ext cx="946254" cy="946254"/>
                <a:chOff x="3384586" y="3948098"/>
                <a:chExt cx="1027892" cy="1027892"/>
              </a:xfrm>
            </p:grpSpPr>
            <p:sp>
              <p:nvSpPr>
                <p:cNvPr id="30" name="Ellipse 29">
                  <a:extLst>
                    <a:ext uri="{FF2B5EF4-FFF2-40B4-BE49-F238E27FC236}">
                      <a16:creationId xmlns:a16="http://schemas.microsoft.com/office/drawing/2014/main" id="{4C2237EA-2517-E402-BBF9-5D85DB164122}"/>
                    </a:ext>
                  </a:extLst>
                </p:cNvPr>
                <p:cNvSpPr>
                  <a:spLocks/>
                </p:cNvSpPr>
                <p:nvPr/>
              </p:nvSpPr>
              <p:spPr bwMode="gray">
                <a:xfrm>
                  <a:off x="3384586" y="3948098"/>
                  <a:ext cx="1027892" cy="1027892"/>
                </a:xfrm>
                <a:prstGeom prst="ellipse">
                  <a:avLst/>
                </a:prstGeom>
                <a:solidFill>
                  <a:srgbClr val="333353"/>
                </a:solidFill>
                <a:ln w="38100" cap="flat" cmpd="sng" algn="ctr">
                  <a:solidFill>
                    <a:schemeClr val="tx2"/>
                  </a:solidFill>
                  <a:prstDash val="solid"/>
                  <a:round/>
                  <a:headEnd type="none" w="med" len="med"/>
                  <a:tailEnd type="none" w="med" len="med"/>
                </a:ln>
                <a:effectLst/>
              </p:spPr>
              <p:txBody>
                <a:bodyPr rtlCol="0" anchor="ctr"/>
                <a:lstStyle/>
                <a:p>
                  <a:pPr algn="ctr"/>
                  <a:endParaRPr lang="en-US" err="1">
                    <a:ea typeface="Arial Unicode MS"/>
                  </a:endParaRPr>
                </a:p>
              </p:txBody>
            </p:sp>
            <p:grpSp>
              <p:nvGrpSpPr>
                <p:cNvPr id="42" name="Gruppieren 41">
                  <a:extLst>
                    <a:ext uri="{FF2B5EF4-FFF2-40B4-BE49-F238E27FC236}">
                      <a16:creationId xmlns:a16="http://schemas.microsoft.com/office/drawing/2014/main" id="{7948F018-646C-773C-C1FB-45C41C716851}"/>
                    </a:ext>
                  </a:extLst>
                </p:cNvPr>
                <p:cNvGrpSpPr>
                  <a:grpSpLocks/>
                </p:cNvGrpSpPr>
                <p:nvPr/>
              </p:nvGrpSpPr>
              <p:grpSpPr>
                <a:xfrm>
                  <a:off x="3688176" y="4153558"/>
                  <a:ext cx="420712" cy="616972"/>
                  <a:chOff x="2504070" y="4029876"/>
                  <a:chExt cx="555751" cy="815006"/>
                </a:xfrm>
                <a:solidFill>
                  <a:schemeClr val="bg1"/>
                </a:solidFill>
              </p:grpSpPr>
              <p:cxnSp>
                <p:nvCxnSpPr>
                  <p:cNvPr id="36" name="Gerader Verbinder 8">
                    <a:extLst>
                      <a:ext uri="{FF2B5EF4-FFF2-40B4-BE49-F238E27FC236}">
                        <a16:creationId xmlns:a16="http://schemas.microsoft.com/office/drawing/2014/main" id="{287B3B77-BC46-5EFF-19E4-A942F9A710C2}"/>
                      </a:ext>
                    </a:extLst>
                  </p:cNvPr>
                  <p:cNvCxnSpPr/>
                  <p:nvPr/>
                </p:nvCxnSpPr>
                <p:spPr bwMode="auto">
                  <a:xfrm>
                    <a:off x="2504070" y="4029876"/>
                    <a:ext cx="5720" cy="815006"/>
                  </a:xfrm>
                  <a:prstGeom prst="line">
                    <a:avLst/>
                  </a:prstGeom>
                  <a:grpFill/>
                  <a:ln w="381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r Verbinder 47">
                    <a:extLst>
                      <a:ext uri="{FF2B5EF4-FFF2-40B4-BE49-F238E27FC236}">
                        <a16:creationId xmlns:a16="http://schemas.microsoft.com/office/drawing/2014/main" id="{1A68EBBB-207D-2FC2-F609-16814BE92480}"/>
                      </a:ext>
                    </a:extLst>
                  </p:cNvPr>
                  <p:cNvCxnSpPr/>
                  <p:nvPr/>
                </p:nvCxnSpPr>
                <p:spPr bwMode="auto">
                  <a:xfrm flipH="1">
                    <a:off x="2504071" y="4146629"/>
                    <a:ext cx="555750" cy="0"/>
                  </a:xfrm>
                  <a:prstGeom prst="line">
                    <a:avLst/>
                  </a:prstGeom>
                  <a:grp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r Verbinder 51">
                    <a:extLst>
                      <a:ext uri="{FF2B5EF4-FFF2-40B4-BE49-F238E27FC236}">
                        <a16:creationId xmlns:a16="http://schemas.microsoft.com/office/drawing/2014/main" id="{23BB8A29-2923-4C39-F8BA-C272F953B9E2}"/>
                      </a:ext>
                    </a:extLst>
                  </p:cNvPr>
                  <p:cNvCxnSpPr/>
                  <p:nvPr/>
                </p:nvCxnSpPr>
                <p:spPr bwMode="auto">
                  <a:xfrm>
                    <a:off x="2805391" y="4138007"/>
                    <a:ext cx="0" cy="211567"/>
                  </a:xfrm>
                  <a:prstGeom prst="line">
                    <a:avLst/>
                  </a:prstGeom>
                  <a:grp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r Verbinder 60">
                    <a:extLst>
                      <a:ext uri="{FF2B5EF4-FFF2-40B4-BE49-F238E27FC236}">
                        <a16:creationId xmlns:a16="http://schemas.microsoft.com/office/drawing/2014/main" id="{FF5F5406-F402-ADF3-7D63-DCD5A2A76518}"/>
                      </a:ext>
                    </a:extLst>
                  </p:cNvPr>
                  <p:cNvCxnSpPr/>
                  <p:nvPr/>
                </p:nvCxnSpPr>
                <p:spPr bwMode="auto">
                  <a:xfrm flipH="1">
                    <a:off x="2681821" y="4262402"/>
                    <a:ext cx="247139" cy="146546"/>
                  </a:xfrm>
                  <a:prstGeom prst="line">
                    <a:avLst/>
                  </a:prstGeom>
                  <a:grp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r Verbinder 65">
                    <a:extLst>
                      <a:ext uri="{FF2B5EF4-FFF2-40B4-BE49-F238E27FC236}">
                        <a16:creationId xmlns:a16="http://schemas.microsoft.com/office/drawing/2014/main" id="{B3BE9CB7-1E4D-95E9-70B6-4D32554B5733}"/>
                      </a:ext>
                    </a:extLst>
                  </p:cNvPr>
                  <p:cNvCxnSpPr/>
                  <p:nvPr/>
                </p:nvCxnSpPr>
                <p:spPr bwMode="auto">
                  <a:xfrm flipH="1">
                    <a:off x="2799052" y="4262403"/>
                    <a:ext cx="247139" cy="146546"/>
                  </a:xfrm>
                  <a:prstGeom prst="line">
                    <a:avLst/>
                  </a:prstGeom>
                  <a:grp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r Verbinder 67">
                    <a:extLst>
                      <a:ext uri="{FF2B5EF4-FFF2-40B4-BE49-F238E27FC236}">
                        <a16:creationId xmlns:a16="http://schemas.microsoft.com/office/drawing/2014/main" id="{B1DD141D-CA5E-735D-D647-A086C574271B}"/>
                      </a:ext>
                    </a:extLst>
                  </p:cNvPr>
                  <p:cNvCxnSpPr/>
                  <p:nvPr/>
                </p:nvCxnSpPr>
                <p:spPr bwMode="auto">
                  <a:xfrm flipH="1" flipV="1">
                    <a:off x="2805392" y="4347543"/>
                    <a:ext cx="61075" cy="17821"/>
                  </a:xfrm>
                  <a:prstGeom prst="line">
                    <a:avLst/>
                  </a:prstGeom>
                  <a:grp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grpSp>
      <p:sp>
        <p:nvSpPr>
          <p:cNvPr id="48" name="TextBox 176">
            <a:extLst>
              <a:ext uri="{FF2B5EF4-FFF2-40B4-BE49-F238E27FC236}">
                <a16:creationId xmlns:a16="http://schemas.microsoft.com/office/drawing/2014/main" id="{58750D8C-FBDF-85BD-FE9D-91E5620CBED8}"/>
              </a:ext>
            </a:extLst>
          </p:cNvPr>
          <p:cNvSpPr txBox="1">
            <a:spLocks/>
          </p:cNvSpPr>
          <p:nvPr/>
        </p:nvSpPr>
        <p:spPr>
          <a:xfrm>
            <a:off x="5054630" y="3597676"/>
            <a:ext cx="2129531" cy="4875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ctr"/>
            <a:r>
              <a:rPr lang="en-US" sz="2400" b="1">
                <a:solidFill>
                  <a:schemeClr val="bg1"/>
                </a:solidFill>
              </a:rPr>
              <a:t>eHighway</a:t>
            </a:r>
          </a:p>
        </p:txBody>
      </p:sp>
    </p:spTree>
    <p:extLst>
      <p:ext uri="{BB962C8B-B14F-4D97-AF65-F5344CB8AC3E}">
        <p14:creationId xmlns:p14="http://schemas.microsoft.com/office/powerpoint/2010/main" val="30884393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33C19D2-C409-CF4B-7DF8-A5154AD1AB55}"/>
              </a:ext>
            </a:extLst>
          </p:cNvPr>
          <p:cNvSpPr>
            <a:spLocks noGrp="1"/>
          </p:cNvSpPr>
          <p:nvPr>
            <p:ph type="body" sz="quarter" idx="13"/>
          </p:nvPr>
        </p:nvSpPr>
        <p:spPr/>
        <p:txBody>
          <a:bodyPr/>
          <a:lstStyle/>
          <a:p>
            <a:pPr>
              <a:lnSpc>
                <a:spcPct val="100000"/>
              </a:lnSpc>
            </a:pPr>
            <a:r>
              <a:rPr lang="en-US" b="1" err="1"/>
              <a:t>Hasso</a:t>
            </a:r>
            <a:r>
              <a:rPr lang="en-US" b="1"/>
              <a:t> </a:t>
            </a:r>
            <a:r>
              <a:rPr lang="en-US" b="1" err="1"/>
              <a:t>Grünjes</a:t>
            </a:r>
            <a:br>
              <a:rPr lang="en-US"/>
            </a:br>
            <a:r>
              <a:rPr lang="en-US"/>
              <a:t>Head of </a:t>
            </a:r>
            <a:r>
              <a:rPr lang="en-US" err="1"/>
              <a:t>eHighway</a:t>
            </a:r>
            <a:endParaRPr lang="en-US"/>
          </a:p>
          <a:p>
            <a:pPr>
              <a:lnSpc>
                <a:spcPct val="100000"/>
              </a:lnSpc>
            </a:pPr>
            <a:r>
              <a:rPr lang="en-US"/>
              <a:t>Siemens Mobility GmbH</a:t>
            </a:r>
          </a:p>
          <a:p>
            <a:pPr>
              <a:lnSpc>
                <a:spcPct val="100000"/>
              </a:lnSpc>
              <a:spcAft>
                <a:spcPts val="1200"/>
              </a:spcAft>
            </a:pPr>
            <a:r>
              <a:rPr lang="en-US"/>
              <a:t>SMO RI EL COC EH</a:t>
            </a:r>
          </a:p>
          <a:p>
            <a:pPr>
              <a:lnSpc>
                <a:spcPct val="100000"/>
              </a:lnSpc>
            </a:pPr>
            <a:r>
              <a:rPr lang="en-US"/>
              <a:t>Erlangen, Germany</a:t>
            </a:r>
          </a:p>
          <a:p>
            <a:pPr>
              <a:lnSpc>
                <a:spcPct val="100000"/>
              </a:lnSpc>
              <a:spcAft>
                <a:spcPts val="1200"/>
              </a:spcAft>
            </a:pPr>
            <a:r>
              <a:rPr lang="en-US"/>
              <a:t>Mobil: +49 (173) 277 8387 </a:t>
            </a:r>
            <a:br>
              <a:rPr lang="en-US"/>
            </a:br>
            <a:r>
              <a:rPr lang="en-US"/>
              <a:t>E-mail: </a:t>
            </a:r>
            <a:r>
              <a:rPr lang="en-US">
                <a:hlinkClick r:id="rId2"/>
              </a:rPr>
              <a:t>hasso.gruenjes@siemens.com</a:t>
            </a:r>
            <a:endParaRPr lang="en-US">
              <a:hlinkClick r:id="rId3"/>
            </a:endParaRPr>
          </a:p>
          <a:p>
            <a:pPr>
              <a:lnSpc>
                <a:spcPct val="100000"/>
              </a:lnSpc>
            </a:pPr>
            <a:r>
              <a:rPr lang="en-US">
                <a:hlinkClick r:id="rId3"/>
              </a:rPr>
              <a:t>www.siemens.com/ehighway</a:t>
            </a:r>
            <a:endParaRPr lang="en-US"/>
          </a:p>
          <a:p>
            <a:pPr>
              <a:lnSpc>
                <a:spcPct val="100000"/>
              </a:lnSpc>
            </a:pPr>
            <a:r>
              <a:rPr lang="en-US" b="1"/>
              <a:t>#eHighway</a:t>
            </a:r>
          </a:p>
          <a:p>
            <a:pPr>
              <a:lnSpc>
                <a:spcPct val="100000"/>
              </a:lnSpc>
            </a:pPr>
            <a:endParaRPr lang="en-US"/>
          </a:p>
        </p:txBody>
      </p:sp>
    </p:spTree>
    <p:extLst>
      <p:ext uri="{BB962C8B-B14F-4D97-AF65-F5344CB8AC3E}">
        <p14:creationId xmlns:p14="http://schemas.microsoft.com/office/powerpoint/2010/main" val="7873410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2BB7634-F315-3306-3E48-7A5F1141E9EB}"/>
              </a:ext>
            </a:extLst>
          </p:cNvPr>
          <p:cNvGraphicFramePr>
            <a:graphicFrameLocks noChangeAspect="1"/>
          </p:cNvGraphicFramePr>
          <p:nvPr>
            <p:custDataLst>
              <p:tags r:id="rId1"/>
            </p:custDataLst>
            <p:extLst>
              <p:ext uri="{D42A27DB-BD31-4B8C-83A1-F6EECF244321}">
                <p14:modId xmlns:p14="http://schemas.microsoft.com/office/powerpoint/2010/main" val="3247396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9" name="Objekt 8" hidden="1">
                        <a:extLst>
                          <a:ext uri="{FF2B5EF4-FFF2-40B4-BE49-F238E27FC236}">
                            <a16:creationId xmlns:a16="http://schemas.microsoft.com/office/drawing/2014/main" id="{D2BB7634-F315-3306-3E48-7A5F1141E9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78E245C2-53F6-F683-FDB9-2D5B6E3744CE}"/>
              </a:ext>
            </a:extLst>
          </p:cNvPr>
          <p:cNvSpPr>
            <a:spLocks/>
          </p:cNvSpPr>
          <p:nvPr/>
        </p:nvSpPr>
        <p:spPr>
          <a:xfrm>
            <a:off x="0" y="1848936"/>
            <a:ext cx="12192000" cy="3958139"/>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 name="Titel 1">
            <a:extLst>
              <a:ext uri="{FF2B5EF4-FFF2-40B4-BE49-F238E27FC236}">
                <a16:creationId xmlns:a16="http://schemas.microsoft.com/office/drawing/2014/main" id="{15A1E1FB-C289-CD81-88FD-3E1CAF8AE573}"/>
              </a:ext>
            </a:extLst>
          </p:cNvPr>
          <p:cNvSpPr>
            <a:spLocks noGrp="1"/>
          </p:cNvSpPr>
          <p:nvPr>
            <p:ph type="title"/>
          </p:nvPr>
        </p:nvSpPr>
        <p:spPr/>
        <p:txBody>
          <a:bodyPr vert="horz"/>
          <a:lstStyle/>
          <a:p>
            <a:r>
              <a:rPr lang="en-US"/>
              <a:t>Proven in daily trucking operations on German motorways</a:t>
            </a:r>
            <a:endParaRPr lang="de-DE"/>
          </a:p>
        </p:txBody>
      </p:sp>
      <p:sp>
        <p:nvSpPr>
          <p:cNvPr id="4" name="Textfeld 3">
            <a:extLst>
              <a:ext uri="{FF2B5EF4-FFF2-40B4-BE49-F238E27FC236}">
                <a16:creationId xmlns:a16="http://schemas.microsoft.com/office/drawing/2014/main" id="{E5D2723F-39BE-6407-7F8E-1E7D977B94AB}"/>
              </a:ext>
            </a:extLst>
          </p:cNvPr>
          <p:cNvSpPr txBox="1">
            <a:spLocks/>
          </p:cNvSpPr>
          <p:nvPr/>
        </p:nvSpPr>
        <p:spPr>
          <a:xfrm>
            <a:off x="415612" y="1395504"/>
            <a:ext cx="5366229" cy="307779"/>
          </a:xfrm>
          <a:prstGeom prst="rect">
            <a:avLst/>
          </a:prstGeom>
        </p:spPr>
        <p:txBody>
          <a:bodyPr vert="horz" lIns="0" tIns="0" rIns="0" bIns="0" rtlCol="0">
            <a:no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algn="ctr">
              <a:lnSpc>
                <a:spcPct val="100000"/>
              </a:lnSpc>
            </a:pPr>
            <a:r>
              <a:rPr lang="en-US" sz="2000" b="1" kern="0">
                <a:gradFill>
                  <a:gsLst>
                    <a:gs pos="0">
                      <a:srgbClr val="00FFB9"/>
                    </a:gs>
                    <a:gs pos="100000">
                      <a:srgbClr val="00E6DC"/>
                    </a:gs>
                  </a:gsLst>
                  <a:lin ang="0" scaled="0"/>
                </a:gradFill>
                <a:latin typeface="Arial" panose="020B0604020202020204" pitchFamily="34" charset="0"/>
              </a:rPr>
              <a:t>Motorway owner’s experience of field trial</a:t>
            </a:r>
          </a:p>
        </p:txBody>
      </p:sp>
      <p:sp>
        <p:nvSpPr>
          <p:cNvPr id="6" name="Textfeld 5">
            <a:extLst>
              <a:ext uri="{FF2B5EF4-FFF2-40B4-BE49-F238E27FC236}">
                <a16:creationId xmlns:a16="http://schemas.microsoft.com/office/drawing/2014/main" id="{E205699C-659D-4FC4-7FFE-4903DEF8C37E}"/>
              </a:ext>
            </a:extLst>
          </p:cNvPr>
          <p:cNvSpPr txBox="1">
            <a:spLocks/>
          </p:cNvSpPr>
          <p:nvPr/>
        </p:nvSpPr>
        <p:spPr>
          <a:xfrm>
            <a:off x="6410160" y="1395506"/>
            <a:ext cx="5366228" cy="307777"/>
          </a:xfrm>
          <a:prstGeom prst="rect">
            <a:avLst/>
          </a:prstGeom>
        </p:spPr>
        <p:txBody>
          <a:bodyPr vert="horz" wrap="square" lIns="0" tIns="0" rIns="0" bIns="0" rtlCol="0">
            <a:spAutoFit/>
          </a:bodyPr>
          <a:lstStyle>
            <a:defPPr>
              <a:defRPr lang="en-US"/>
            </a:defPPr>
            <a:lvl1pPr indent="0">
              <a:lnSpc>
                <a:spcPct val="110000"/>
              </a:lnSpc>
              <a:spcBef>
                <a:spcPts val="0"/>
              </a:spcBef>
              <a:spcAft>
                <a:spcPts val="300"/>
              </a:spcAft>
              <a:buFont typeface="Arial" panose="020B0604020202020204" pitchFamily="34" charset="0"/>
              <a:buNone/>
              <a:defRPr sz="1400" b="0"/>
            </a:lvl1pPr>
            <a:lvl2pPr marL="180000" indent="-180000">
              <a:lnSpc>
                <a:spcPct val="110000"/>
              </a:lnSpc>
              <a:spcBef>
                <a:spcPts val="0"/>
              </a:spcBef>
              <a:spcAft>
                <a:spcPts val="300"/>
              </a:spcAft>
              <a:buClr>
                <a:schemeClr val="accent1"/>
              </a:buClr>
              <a:buFont typeface="Arial" panose="020B0604020202020204" pitchFamily="34" charset="0"/>
              <a:buChar char="•"/>
            </a:lvl2pPr>
            <a:lvl3pPr marL="0" lvl="2" indent="0">
              <a:lnSpc>
                <a:spcPct val="110000"/>
              </a:lnSpc>
              <a:spcBef>
                <a:spcPts val="0"/>
              </a:spcBef>
              <a:spcAft>
                <a:spcPts val="300"/>
              </a:spcAft>
              <a:buClr>
                <a:schemeClr val="accent1"/>
              </a:buClr>
              <a:buFont typeface="Arial" panose="020B0604020202020204" pitchFamily="34" charset="0"/>
              <a:buNone/>
              <a:defRPr sz="1400"/>
            </a:lvl3pPr>
            <a:lvl4pPr marL="540000" indent="-180000">
              <a:lnSpc>
                <a:spcPct val="110000"/>
              </a:lnSpc>
              <a:spcBef>
                <a:spcPts val="0"/>
              </a:spcBef>
              <a:spcAft>
                <a:spcPts val="300"/>
              </a:spcAft>
              <a:buClr>
                <a:schemeClr val="accent1"/>
              </a:buClr>
              <a:buFont typeface="Arial" panose="020B0604020202020204" pitchFamily="34" charset="0"/>
              <a:buChar char="•"/>
            </a:lvl4pPr>
            <a:lvl5pPr marL="720000" indent="-180000">
              <a:lnSpc>
                <a:spcPct val="110000"/>
              </a:lnSpc>
              <a:spcBef>
                <a:spcPts val="0"/>
              </a:spcBef>
              <a:spcAft>
                <a:spcPts val="300"/>
              </a:spcAft>
              <a:buClr>
                <a:schemeClr val="accent1"/>
              </a:buClr>
              <a:buFont typeface="Arial" panose="020B0604020202020204" pitchFamily="34" charset="0"/>
              <a:buChar char="•"/>
            </a:lvl5pPr>
            <a:lvl6pPr marL="900000" indent="-180000">
              <a:lnSpc>
                <a:spcPct val="110000"/>
              </a:lnSpc>
              <a:spcBef>
                <a:spcPts val="0"/>
              </a:spcBef>
              <a:spcAft>
                <a:spcPts val="300"/>
              </a:spcAft>
              <a:buClr>
                <a:schemeClr val="accent1"/>
              </a:buClr>
              <a:buFont typeface="Arial" panose="020B0604020202020204" pitchFamily="34" charset="0"/>
              <a:buChar char="•"/>
            </a:lvl6pPr>
            <a:lvl7pPr marL="1080000" indent="-180000">
              <a:lnSpc>
                <a:spcPct val="110000"/>
              </a:lnSpc>
              <a:spcBef>
                <a:spcPts val="0"/>
              </a:spcBef>
              <a:spcAft>
                <a:spcPts val="300"/>
              </a:spcAft>
              <a:buClr>
                <a:schemeClr val="accent1"/>
              </a:buClr>
              <a:buFont typeface="Arial" panose="020B0604020202020204" pitchFamily="34" charset="0"/>
              <a:buChar char="•"/>
            </a:lvl7pPr>
            <a:lvl8pPr marL="1260000" indent="-180000">
              <a:lnSpc>
                <a:spcPct val="110000"/>
              </a:lnSpc>
              <a:spcBef>
                <a:spcPts val="0"/>
              </a:spcBef>
              <a:spcAft>
                <a:spcPts val="300"/>
              </a:spcAft>
              <a:buClr>
                <a:schemeClr val="accent1"/>
              </a:buClr>
              <a:buFont typeface="Arial" panose="020B0604020202020204" pitchFamily="34" charset="0"/>
              <a:buChar char="•"/>
            </a:lvl8pPr>
            <a:lvl9pPr marL="1440000" indent="-180000">
              <a:lnSpc>
                <a:spcPct val="110000"/>
              </a:lnSpc>
              <a:spcBef>
                <a:spcPts val="0"/>
              </a:spcBef>
              <a:spcAft>
                <a:spcPts val="300"/>
              </a:spcAft>
              <a:buClr>
                <a:schemeClr val="accent1"/>
              </a:buClr>
              <a:buFont typeface="Arial" panose="020B0604020202020204" pitchFamily="34" charset="0"/>
              <a:buChar char="•"/>
            </a:lvl9pPr>
          </a:lstStyle>
          <a:p>
            <a:pPr algn="ctr">
              <a:lnSpc>
                <a:spcPct val="100000"/>
              </a:lnSpc>
            </a:pPr>
            <a:r>
              <a:rPr lang="en-US" sz="2000" b="1" kern="0">
                <a:gradFill>
                  <a:gsLst>
                    <a:gs pos="0">
                      <a:srgbClr val="00FFB9"/>
                    </a:gs>
                    <a:gs pos="100000">
                      <a:srgbClr val="00E6DC"/>
                    </a:gs>
                  </a:gsLst>
                  <a:lin ang="0" scaled="0"/>
                </a:gradFill>
                <a:latin typeface="Arial" panose="020B0604020202020204" pitchFamily="34" charset="0"/>
              </a:rPr>
              <a:t>Experiences of an </a:t>
            </a:r>
            <a:r>
              <a:rPr lang="en-US" sz="2000" b="1" kern="0" err="1">
                <a:gradFill>
                  <a:gsLst>
                    <a:gs pos="0">
                      <a:srgbClr val="00FFB9"/>
                    </a:gs>
                    <a:gs pos="100000">
                      <a:srgbClr val="00E6DC"/>
                    </a:gs>
                  </a:gsLst>
                  <a:lin ang="0" scaled="0"/>
                </a:gradFill>
                <a:latin typeface="Arial" panose="020B0604020202020204" pitchFamily="34" charset="0"/>
              </a:rPr>
              <a:t>eHighway</a:t>
            </a:r>
            <a:r>
              <a:rPr lang="en-US" sz="2000" b="1" kern="0">
                <a:gradFill>
                  <a:gsLst>
                    <a:gs pos="0">
                      <a:srgbClr val="00FFB9"/>
                    </a:gs>
                    <a:gs pos="100000">
                      <a:srgbClr val="00E6DC"/>
                    </a:gs>
                  </a:gsLst>
                  <a:lin ang="0" scaled="0"/>
                </a:gradFill>
                <a:latin typeface="Arial" panose="020B0604020202020204" pitchFamily="34" charset="0"/>
              </a:rPr>
              <a:t>-truck driver </a:t>
            </a:r>
          </a:p>
        </p:txBody>
      </p:sp>
      <p:sp>
        <p:nvSpPr>
          <p:cNvPr id="10" name="Rechteck 9">
            <a:extLst>
              <a:ext uri="{FF2B5EF4-FFF2-40B4-BE49-F238E27FC236}">
                <a16:creationId xmlns:a16="http://schemas.microsoft.com/office/drawing/2014/main" id="{9B5A4496-309A-65AA-8305-F8150AAAE1EC}"/>
              </a:ext>
            </a:extLst>
          </p:cNvPr>
          <p:cNvSpPr>
            <a:spLocks/>
          </p:cNvSpPr>
          <p:nvPr/>
        </p:nvSpPr>
        <p:spPr>
          <a:xfrm>
            <a:off x="6706605" y="5285038"/>
            <a:ext cx="4773339" cy="215444"/>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spcBef>
                <a:spcPts val="0"/>
              </a:spcBef>
            </a:pPr>
            <a:r>
              <a:rPr lang="en-US" sz="1400">
                <a:solidFill>
                  <a:srgbClr val="CCCCD4"/>
                </a:solidFill>
                <a:hlinkClick r:id="rId6">
                  <a:extLst>
                    <a:ext uri="{A12FA001-AC4F-418D-AE19-62706E023703}">
                      <ahyp:hlinkClr xmlns:ahyp="http://schemas.microsoft.com/office/drawing/2018/hyperlinkcolor" val="tx"/>
                    </a:ext>
                  </a:extLst>
                </a:hlinkClick>
              </a:rPr>
              <a:t>https://www.youtube.com/watch?v=NHSofIc31rw </a:t>
            </a:r>
            <a:endParaRPr lang="en-US" sz="1400">
              <a:solidFill>
                <a:srgbClr val="CCCCD4"/>
              </a:solidFill>
            </a:endParaRPr>
          </a:p>
        </p:txBody>
      </p:sp>
      <p:sp>
        <p:nvSpPr>
          <p:cNvPr id="14" name="Rechteck 13">
            <a:extLst>
              <a:ext uri="{FF2B5EF4-FFF2-40B4-BE49-F238E27FC236}">
                <a16:creationId xmlns:a16="http://schemas.microsoft.com/office/drawing/2014/main" id="{59C5CC9C-8007-A5A1-7FA1-8FFF1F60E60A}"/>
              </a:ext>
            </a:extLst>
          </p:cNvPr>
          <p:cNvSpPr>
            <a:spLocks/>
          </p:cNvSpPr>
          <p:nvPr/>
        </p:nvSpPr>
        <p:spPr>
          <a:xfrm>
            <a:off x="857314" y="5285038"/>
            <a:ext cx="4482826" cy="215444"/>
          </a:xfrm>
          <a:prstGeom prst="rect">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ctr">
              <a:spcBef>
                <a:spcPts val="0"/>
              </a:spcBef>
            </a:pPr>
            <a:r>
              <a:rPr lang="en-US" sz="1400">
                <a:solidFill>
                  <a:srgbClr val="CCCCD4"/>
                </a:solidFill>
                <a:hlinkClick r:id="rId7">
                  <a:extLst>
                    <a:ext uri="{A12FA001-AC4F-418D-AE19-62706E023703}">
                      <ahyp:hlinkClr xmlns:ahyp="http://schemas.microsoft.com/office/drawing/2018/hyperlinkcolor" val="tx"/>
                    </a:ext>
                  </a:extLst>
                </a:hlinkClick>
              </a:rPr>
              <a:t>https://www.youtube.com/watch?v=gAUff-fz_MM&amp;t=0s </a:t>
            </a:r>
            <a:endParaRPr lang="en-US" sz="1400">
              <a:solidFill>
                <a:srgbClr val="CCCCD4"/>
              </a:solidFill>
            </a:endParaRPr>
          </a:p>
        </p:txBody>
      </p:sp>
      <p:pic>
        <p:nvPicPr>
          <p:cNvPr id="11" name="Picture 17">
            <a:extLst>
              <a:ext uri="{FF2B5EF4-FFF2-40B4-BE49-F238E27FC236}">
                <a16:creationId xmlns:a16="http://schemas.microsoft.com/office/drawing/2014/main" id="{55853DF6-B876-4D42-DD78-CE554150A23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5482" r="5482"/>
          <a:stretch/>
        </p:blipFill>
        <p:spPr>
          <a:xfrm>
            <a:off x="659323" y="2054868"/>
            <a:ext cx="4878808" cy="3081204"/>
          </a:xfrm>
          <a:prstGeom prst="rect">
            <a:avLst/>
          </a:prstGeom>
        </p:spPr>
      </p:pic>
      <p:pic>
        <p:nvPicPr>
          <p:cNvPr id="12" name="Picture 16">
            <a:extLst>
              <a:ext uri="{FF2B5EF4-FFF2-40B4-BE49-F238E27FC236}">
                <a16:creationId xmlns:a16="http://schemas.microsoft.com/office/drawing/2014/main" id="{5FAF68DA-A3AB-2EC4-515B-836204A0F8A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653870" y="2054868"/>
            <a:ext cx="4878808" cy="3081204"/>
          </a:xfrm>
          <a:prstGeom prst="rect">
            <a:avLst/>
          </a:prstGeom>
        </p:spPr>
      </p:pic>
    </p:spTree>
    <p:extLst>
      <p:ext uri="{BB962C8B-B14F-4D97-AF65-F5344CB8AC3E}">
        <p14:creationId xmlns:p14="http://schemas.microsoft.com/office/powerpoint/2010/main" val="1583313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6A61391-BFBA-D7AF-B37F-09A17BA37F8D}"/>
              </a:ext>
            </a:extLst>
          </p:cNvPr>
          <p:cNvGraphicFramePr>
            <a:graphicFrameLocks noChangeAspect="1"/>
          </p:cNvGraphicFramePr>
          <p:nvPr>
            <p:custDataLst>
              <p:tags r:id="rId1"/>
            </p:custDataLst>
            <p:extLst>
              <p:ext uri="{D42A27DB-BD31-4B8C-83A1-F6EECF244321}">
                <p14:modId xmlns:p14="http://schemas.microsoft.com/office/powerpoint/2010/main" val="1113893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6A61391-BFBA-D7AF-B37F-09A17BA37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7ABD6507-776D-1678-8C5E-02F9A71B8E80}"/>
              </a:ext>
            </a:extLst>
          </p:cNvPr>
          <p:cNvSpPr>
            <a:spLocks/>
          </p:cNvSpPr>
          <p:nvPr/>
        </p:nvSpPr>
        <p:spPr>
          <a:xfrm>
            <a:off x="-1" y="1423917"/>
            <a:ext cx="12192000" cy="43948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6" name="Picture 9">
            <a:extLst>
              <a:ext uri="{FF2B5EF4-FFF2-40B4-BE49-F238E27FC236}">
                <a16:creationId xmlns:a16="http://schemas.microsoft.com/office/drawing/2014/main" id="{F170D439-1D45-B5CA-C03B-6520BCB4F9BA}"/>
              </a:ext>
            </a:extLst>
          </p:cNvPr>
          <p:cNvPicPr>
            <a:picLocks noChangeAspect="1"/>
          </p:cNvPicPr>
          <p:nvPr/>
        </p:nvPicPr>
        <p:blipFill rotWithShape="1">
          <a:blip r:embed="rId5"/>
          <a:srcRect l="906" t="957" r="638" b="580"/>
          <a:stretch/>
        </p:blipFill>
        <p:spPr>
          <a:xfrm>
            <a:off x="7572641" y="1536967"/>
            <a:ext cx="2936875" cy="4168775"/>
          </a:xfrm>
          <a:prstGeom prst="rect">
            <a:avLst/>
          </a:prstGeom>
          <a:ln>
            <a:noFill/>
          </a:ln>
        </p:spPr>
      </p:pic>
      <p:sp>
        <p:nvSpPr>
          <p:cNvPr id="7" name="TextBox 7">
            <a:extLst>
              <a:ext uri="{FF2B5EF4-FFF2-40B4-BE49-F238E27FC236}">
                <a16:creationId xmlns:a16="http://schemas.microsoft.com/office/drawing/2014/main" id="{E9CB379A-2E87-CB62-359F-ACA89FCA352A}"/>
              </a:ext>
            </a:extLst>
          </p:cNvPr>
          <p:cNvSpPr txBox="1"/>
          <p:nvPr/>
        </p:nvSpPr>
        <p:spPr>
          <a:xfrm>
            <a:off x="411162" y="6148487"/>
            <a:ext cx="3772313" cy="138499"/>
          </a:xfrm>
          <a:prstGeom prst="rect">
            <a:avLst/>
          </a:prstGeom>
          <a:noFill/>
        </p:spPr>
        <p:txBody>
          <a:bodyPr wrap="square" lIns="0" tIns="0" rIns="0" bIns="0" rtlCol="0">
            <a:spAutoFit/>
          </a:bodyPr>
          <a:lstStyle>
            <a:defPPr>
              <a:defRPr lang="en-US"/>
            </a:defPPr>
            <a:lvl1pPr>
              <a:defRPr sz="1200">
                <a:solidFill>
                  <a:schemeClr val="bg1"/>
                </a:solidFill>
              </a:defRPr>
            </a:lvl1pPr>
          </a:lstStyle>
          <a:p>
            <a:r>
              <a:rPr lang="en-US" sz="900"/>
              <a:t>Available </a:t>
            </a:r>
            <a:r>
              <a:rPr lang="en-US" sz="900">
                <a:solidFill>
                  <a:schemeClr val="accent3"/>
                </a:solidFill>
                <a:hlinkClick r:id="rId6">
                  <a:extLst>
                    <a:ext uri="{A12FA001-AC4F-418D-AE19-62706E023703}">
                      <ahyp:hlinkClr xmlns:ahyp="http://schemas.microsoft.com/office/drawing/2018/hyperlinkcolor" val="tx"/>
                    </a:ext>
                  </a:extLst>
                </a:hlinkClick>
              </a:rPr>
              <a:t>online</a:t>
            </a:r>
            <a:endParaRPr lang="en-US" sz="900">
              <a:solidFill>
                <a:schemeClr val="accent3"/>
              </a:solidFill>
            </a:endParaRPr>
          </a:p>
        </p:txBody>
      </p:sp>
      <p:sp>
        <p:nvSpPr>
          <p:cNvPr id="9" name="Textfeld 8">
            <a:extLst>
              <a:ext uri="{FF2B5EF4-FFF2-40B4-BE49-F238E27FC236}">
                <a16:creationId xmlns:a16="http://schemas.microsoft.com/office/drawing/2014/main" id="{8B91F917-2A39-EE07-4FA1-80121B046232}"/>
              </a:ext>
            </a:extLst>
          </p:cNvPr>
          <p:cNvSpPr txBox="1">
            <a:spLocks/>
          </p:cNvSpPr>
          <p:nvPr/>
        </p:nvSpPr>
        <p:spPr>
          <a:xfrm>
            <a:off x="718100" y="2875421"/>
            <a:ext cx="6583849" cy="1491868"/>
          </a:xfrm>
          <a:prstGeom prst="rect">
            <a:avLst/>
          </a:prstGeom>
        </p:spPr>
        <p:txBody>
          <a:bodyPr vert="horz" wrap="square" lIns="0" tIns="0" rIns="324000" bIns="14400" rtlCol="0" anchor="ctr" anchorCtr="0">
            <a:spAutoFit/>
          </a:bodyPr>
          <a:lstStyle>
            <a:lvl1pPr>
              <a:lnSpc>
                <a:spcPct val="100000"/>
              </a:lnSpc>
              <a:spcBef>
                <a:spcPts val="0"/>
              </a:spcBef>
              <a:spcAft>
                <a:spcPts val="300"/>
              </a:spcAft>
              <a:buNone/>
              <a:defRPr sz="4400" b="0" kern="0">
                <a:gradFill>
                  <a:gsLst>
                    <a:gs pos="0">
                      <a:srgbClr val="00FFB9"/>
                    </a:gs>
                    <a:gs pos="100000">
                      <a:srgbClr val="00E6DC"/>
                    </a:gs>
                  </a:gsLst>
                  <a:lin ang="0" scaled="0"/>
                </a:gradFill>
                <a:latin typeface="Arial" panose="020B0604020202020204" pitchFamily="34" charset="0"/>
              </a:defRPr>
            </a:lvl1pPr>
          </a:lstStyle>
          <a:p>
            <a:r>
              <a:rPr lang="en-US" sz="4800" kern="0">
                <a:gradFill>
                  <a:gsLst>
                    <a:gs pos="0">
                      <a:srgbClr val="00FFB9"/>
                    </a:gs>
                    <a:gs pos="100000">
                      <a:srgbClr val="00E6DC"/>
                    </a:gs>
                  </a:gsLst>
                  <a:lin ang="0" scaled="0"/>
                </a:gradFill>
                <a:latin typeface="Arial" panose="020B0604020202020204" pitchFamily="34" charset="0"/>
                <a:ea typeface="+mn-ea"/>
                <a:cs typeface="+mn-cs"/>
              </a:rPr>
              <a:t>Factsheet for climate-friendly road freight </a:t>
            </a:r>
            <a:endParaRPr lang="de-DE" sz="4800"/>
          </a:p>
        </p:txBody>
      </p:sp>
    </p:spTree>
    <p:extLst>
      <p:ext uri="{BB962C8B-B14F-4D97-AF65-F5344CB8AC3E}">
        <p14:creationId xmlns:p14="http://schemas.microsoft.com/office/powerpoint/2010/main" val="10931987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operationalrange</a:t>
            </a:r>
          </a:p>
        </p:txBody>
      </p:sp>
      <p:sp>
        <p:nvSpPr>
          <p:cNvPr id="3" name="Slide Number Placeholder">
            <a:extLst>
              <a:ext uri="{FF2B5EF4-FFF2-40B4-BE49-F238E27FC236}">
                <a16:creationId xmlns:a16="http://schemas.microsoft.com/office/drawing/2014/main" id="{ACCFE235-7738-4971-A010-875207DA87A2}"/>
              </a:ext>
            </a:extLst>
          </p:cNvPr>
          <p:cNvSpPr>
            <a:spLocks noGrp="1"/>
          </p:cNvSpPr>
          <p:nvPr>
            <p:ph type="sldNum" sz="quarter" idx="11"/>
          </p:nvPr>
        </p:nvSpPr>
        <p:spPr/>
        <p:txBody>
          <a:bodyPr/>
          <a:lstStyle/>
          <a:p>
            <a:r>
              <a:rPr lang="en-US"/>
              <a:t>Seite </a:t>
            </a:r>
            <a:fld id="{15EBE321-CBB1-4E91-BD14-37C8D44326FB}" type="slidenum">
              <a:rPr lang="en-US" smtClean="0"/>
              <a:pPr/>
              <a:t>3</a:t>
            </a:fld>
            <a:endParaRPr lang="en-US"/>
          </a:p>
        </p:txBody>
      </p:sp>
      <p:grpSp>
        <p:nvGrpSpPr>
          <p:cNvPr id="7" name="Gruppieren 6">
            <a:extLst>
              <a:ext uri="{FF2B5EF4-FFF2-40B4-BE49-F238E27FC236}">
                <a16:creationId xmlns:a16="http://schemas.microsoft.com/office/drawing/2014/main" id="{C292CEBD-58CD-475B-9052-F9C6701F84B6}"/>
              </a:ext>
            </a:extLst>
          </p:cNvPr>
          <p:cNvGrpSpPr/>
          <p:nvPr/>
        </p:nvGrpSpPr>
        <p:grpSpPr>
          <a:xfrm>
            <a:off x="9898857" y="3919131"/>
            <a:ext cx="1888331" cy="1887944"/>
            <a:chOff x="5355001" y="1602925"/>
            <a:chExt cx="419530" cy="419444"/>
          </a:xfrm>
        </p:grpSpPr>
        <p:sp>
          <p:nvSpPr>
            <p:cNvPr id="9" name="Rectangle 12">
              <a:extLst>
                <a:ext uri="{FF2B5EF4-FFF2-40B4-BE49-F238E27FC236}">
                  <a16:creationId xmlns:a16="http://schemas.microsoft.com/office/drawing/2014/main" id="{0D0190B0-D31F-472D-8881-86F685CA516D}"/>
                </a:ext>
              </a:extLst>
            </p:cNvPr>
            <p:cNvSpPr>
              <a:spLocks/>
            </p:cNvSpPr>
            <p:nvPr/>
          </p:nvSpPr>
          <p:spPr>
            <a:xfrm>
              <a:off x="5355001" y="1602925"/>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 name="Freihandform: Form 9">
              <a:extLst>
                <a:ext uri="{FF2B5EF4-FFF2-40B4-BE49-F238E27FC236}">
                  <a16:creationId xmlns:a16="http://schemas.microsoft.com/office/drawing/2014/main" id="{D4E04233-5C37-40E2-A5E0-CF2E469509FB}"/>
                </a:ext>
              </a:extLst>
            </p:cNvPr>
            <p:cNvSpPr>
              <a:spLocks/>
            </p:cNvSpPr>
            <p:nvPr/>
          </p:nvSpPr>
          <p:spPr>
            <a:xfrm>
              <a:off x="5428778" y="1676400"/>
              <a:ext cx="271976" cy="272494"/>
            </a:xfrm>
            <a:custGeom>
              <a:avLst/>
              <a:gdLst>
                <a:gd name="connsiteX0" fmla="*/ 407131 w 592024"/>
                <a:gd name="connsiteY0" fmla="*/ 243350 h 593151"/>
                <a:gd name="connsiteX1" fmla="*/ 592024 w 592024"/>
                <a:gd name="connsiteY1" fmla="*/ 243350 h 593151"/>
                <a:gd name="connsiteX2" fmla="*/ 592024 w 592024"/>
                <a:gd name="connsiteY2" fmla="*/ 429477 h 593151"/>
                <a:gd name="connsiteX3" fmla="*/ 545828 w 592024"/>
                <a:gd name="connsiteY3" fmla="*/ 429477 h 593151"/>
                <a:gd name="connsiteX4" fmla="*/ 536572 w 592024"/>
                <a:gd name="connsiteY4" fmla="*/ 335797 h 593151"/>
                <a:gd name="connsiteX5" fmla="*/ 365012 w 592024"/>
                <a:gd name="connsiteY5" fmla="*/ 501911 h 593151"/>
                <a:gd name="connsiteX6" fmla="*/ 365012 w 592024"/>
                <a:gd name="connsiteY6" fmla="*/ 437794 h 593151"/>
                <a:gd name="connsiteX7" fmla="*/ 499577 w 592024"/>
                <a:gd name="connsiteY7" fmla="*/ 298802 h 593151"/>
                <a:gd name="connsiteX8" fmla="*/ 407131 w 592024"/>
                <a:gd name="connsiteY8" fmla="*/ 289573 h 593151"/>
                <a:gd name="connsiteX9" fmla="*/ 407131 w 592024"/>
                <a:gd name="connsiteY9" fmla="*/ 280345 h 593151"/>
                <a:gd name="connsiteX10" fmla="*/ 0 w 592024"/>
                <a:gd name="connsiteY10" fmla="*/ 243350 h 593151"/>
                <a:gd name="connsiteX11" fmla="*/ 184893 w 592024"/>
                <a:gd name="connsiteY11" fmla="*/ 243350 h 593151"/>
                <a:gd name="connsiteX12" fmla="*/ 184893 w 592024"/>
                <a:gd name="connsiteY12" fmla="*/ 280345 h 593151"/>
                <a:gd name="connsiteX13" fmla="*/ 184893 w 592024"/>
                <a:gd name="connsiteY13" fmla="*/ 289573 h 593151"/>
                <a:gd name="connsiteX14" fmla="*/ 92447 w 592024"/>
                <a:gd name="connsiteY14" fmla="*/ 298802 h 593151"/>
                <a:gd name="connsiteX15" fmla="*/ 227012 w 592024"/>
                <a:gd name="connsiteY15" fmla="*/ 437794 h 593151"/>
                <a:gd name="connsiteX16" fmla="*/ 227012 w 592024"/>
                <a:gd name="connsiteY16" fmla="*/ 501911 h 593151"/>
                <a:gd name="connsiteX17" fmla="*/ 55452 w 592024"/>
                <a:gd name="connsiteY17" fmla="*/ 335797 h 593151"/>
                <a:gd name="connsiteX18" fmla="*/ 46197 w 592024"/>
                <a:gd name="connsiteY18" fmla="*/ 429477 h 593151"/>
                <a:gd name="connsiteX19" fmla="*/ 0 w 592024"/>
                <a:gd name="connsiteY19" fmla="*/ 429477 h 593151"/>
                <a:gd name="connsiteX20" fmla="*/ 295958 w 592024"/>
                <a:gd name="connsiteY20" fmla="*/ 0 h 593151"/>
                <a:gd name="connsiteX21" fmla="*/ 448042 w 592024"/>
                <a:gd name="connsiteY21" fmla="*/ 152084 h 593151"/>
                <a:gd name="connsiteX22" fmla="*/ 417620 w 592024"/>
                <a:gd name="connsiteY22" fmla="*/ 182506 h 593151"/>
                <a:gd name="connsiteX23" fmla="*/ 410028 w 592024"/>
                <a:gd name="connsiteY23" fmla="*/ 190125 h 593151"/>
                <a:gd name="connsiteX24" fmla="*/ 326380 w 592024"/>
                <a:gd name="connsiteY24" fmla="*/ 121662 h 593151"/>
                <a:gd name="connsiteX25" fmla="*/ 318761 w 592024"/>
                <a:gd name="connsiteY25" fmla="*/ 593151 h 593151"/>
                <a:gd name="connsiteX26" fmla="*/ 273128 w 592024"/>
                <a:gd name="connsiteY26" fmla="*/ 593151 h 593151"/>
                <a:gd name="connsiteX27" fmla="*/ 265536 w 592024"/>
                <a:gd name="connsiteY27" fmla="*/ 121662 h 593151"/>
                <a:gd name="connsiteX28" fmla="*/ 180869 w 592024"/>
                <a:gd name="connsiteY28" fmla="*/ 191117 h 593151"/>
                <a:gd name="connsiteX29" fmla="*/ 142855 w 592024"/>
                <a:gd name="connsiteY29" fmla="*/ 153103 h 59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92024" h="593151">
                  <a:moveTo>
                    <a:pt x="407131" y="243350"/>
                  </a:moveTo>
                  <a:lnTo>
                    <a:pt x="592024" y="243350"/>
                  </a:lnTo>
                  <a:lnTo>
                    <a:pt x="592024" y="429477"/>
                  </a:lnTo>
                  <a:lnTo>
                    <a:pt x="545828" y="429477"/>
                  </a:lnTo>
                  <a:lnTo>
                    <a:pt x="536572" y="335797"/>
                  </a:lnTo>
                  <a:lnTo>
                    <a:pt x="365012" y="501911"/>
                  </a:lnTo>
                  <a:lnTo>
                    <a:pt x="365012" y="437794"/>
                  </a:lnTo>
                  <a:lnTo>
                    <a:pt x="499577" y="298802"/>
                  </a:lnTo>
                  <a:lnTo>
                    <a:pt x="407131" y="289573"/>
                  </a:lnTo>
                  <a:lnTo>
                    <a:pt x="407131" y="280345"/>
                  </a:lnTo>
                  <a:close/>
                  <a:moveTo>
                    <a:pt x="0" y="243350"/>
                  </a:moveTo>
                  <a:lnTo>
                    <a:pt x="184893" y="243350"/>
                  </a:lnTo>
                  <a:lnTo>
                    <a:pt x="184893" y="280345"/>
                  </a:lnTo>
                  <a:lnTo>
                    <a:pt x="184893" y="289573"/>
                  </a:lnTo>
                  <a:lnTo>
                    <a:pt x="92447" y="298802"/>
                  </a:lnTo>
                  <a:lnTo>
                    <a:pt x="227012" y="437794"/>
                  </a:lnTo>
                  <a:lnTo>
                    <a:pt x="227012" y="501911"/>
                  </a:lnTo>
                  <a:lnTo>
                    <a:pt x="55452" y="335797"/>
                  </a:lnTo>
                  <a:lnTo>
                    <a:pt x="46197" y="429477"/>
                  </a:lnTo>
                  <a:lnTo>
                    <a:pt x="0" y="429477"/>
                  </a:lnTo>
                  <a:close/>
                  <a:moveTo>
                    <a:pt x="295958" y="0"/>
                  </a:moveTo>
                  <a:lnTo>
                    <a:pt x="448042" y="152084"/>
                  </a:lnTo>
                  <a:lnTo>
                    <a:pt x="417620" y="182506"/>
                  </a:lnTo>
                  <a:lnTo>
                    <a:pt x="410028" y="190125"/>
                  </a:lnTo>
                  <a:lnTo>
                    <a:pt x="326380" y="121662"/>
                  </a:lnTo>
                  <a:lnTo>
                    <a:pt x="318761" y="593151"/>
                  </a:lnTo>
                  <a:lnTo>
                    <a:pt x="273128" y="593151"/>
                  </a:lnTo>
                  <a:lnTo>
                    <a:pt x="265536" y="121662"/>
                  </a:lnTo>
                  <a:lnTo>
                    <a:pt x="180869" y="191117"/>
                  </a:lnTo>
                  <a:lnTo>
                    <a:pt x="142855" y="153103"/>
                  </a:lnTo>
                  <a:close/>
                </a:path>
              </a:pathLst>
            </a:custGeom>
            <a:solidFill>
              <a:schemeClr val="bg2"/>
            </a:solidFill>
            <a:ln w="2681" cap="flat">
              <a:noFill/>
              <a:prstDash val="solid"/>
              <a:miter/>
            </a:ln>
          </p:spPr>
          <p:txBody>
            <a:bodyPr rtlCol="0" anchor="ctr"/>
            <a:lstStyle/>
            <a:p>
              <a:endParaRPr lang="en-US"/>
            </a:p>
          </p:txBody>
        </p:sp>
      </p:grpSp>
    </p:spTree>
    <p:extLst>
      <p:ext uri="{BB962C8B-B14F-4D97-AF65-F5344CB8AC3E}">
        <p14:creationId xmlns:p14="http://schemas.microsoft.com/office/powerpoint/2010/main" val="2969443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905E71B-80AC-B0F9-4BC2-518F4E47FCDD}"/>
              </a:ext>
            </a:extLst>
          </p:cNvPr>
          <p:cNvGraphicFramePr>
            <a:graphicFrameLocks noChangeAspect="1"/>
          </p:cNvGraphicFramePr>
          <p:nvPr>
            <p:custDataLst>
              <p:tags r:id="rId1"/>
            </p:custDataLst>
            <p:extLst>
              <p:ext uri="{D42A27DB-BD31-4B8C-83A1-F6EECF244321}">
                <p14:modId xmlns:p14="http://schemas.microsoft.com/office/powerpoint/2010/main" val="404956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5" name="Objekt 4" hidden="1">
                        <a:extLst>
                          <a:ext uri="{FF2B5EF4-FFF2-40B4-BE49-F238E27FC236}">
                            <a16:creationId xmlns:a16="http://schemas.microsoft.com/office/drawing/2014/main" id="{D905E71B-80AC-B0F9-4BC2-518F4E47FC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hteck 41">
            <a:extLst>
              <a:ext uri="{FF2B5EF4-FFF2-40B4-BE49-F238E27FC236}">
                <a16:creationId xmlns:a16="http://schemas.microsoft.com/office/drawing/2014/main" id="{EDD44E25-B079-3991-6FF6-F06BEE1C8EF7}"/>
              </a:ext>
            </a:extLst>
          </p:cNvPr>
          <p:cNvSpPr>
            <a:spLocks/>
          </p:cNvSpPr>
          <p:nvPr/>
        </p:nvSpPr>
        <p:spPr>
          <a:xfrm>
            <a:off x="1" y="1421297"/>
            <a:ext cx="12192000"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2" name="Titel 1">
            <a:extLst>
              <a:ext uri="{FF2B5EF4-FFF2-40B4-BE49-F238E27FC236}">
                <a16:creationId xmlns:a16="http://schemas.microsoft.com/office/drawing/2014/main" id="{B9DD8FB4-8EB6-CE54-4189-8969F620A7D7}"/>
              </a:ext>
            </a:extLst>
          </p:cNvPr>
          <p:cNvSpPr>
            <a:spLocks noGrp="1"/>
          </p:cNvSpPr>
          <p:nvPr>
            <p:ph type="title"/>
          </p:nvPr>
        </p:nvSpPr>
        <p:spPr/>
        <p:txBody>
          <a:bodyPr vert="horz"/>
          <a:lstStyle/>
          <a:p>
            <a:r>
              <a:rPr lang="en-US"/>
              <a:t>Range is especially important for long-haul operations </a:t>
            </a:r>
            <a:endParaRPr lang="de-DE"/>
          </a:p>
        </p:txBody>
      </p:sp>
      <p:grpSp>
        <p:nvGrpSpPr>
          <p:cNvPr id="8" name="Gruppieren 7">
            <a:extLst>
              <a:ext uri="{FF2B5EF4-FFF2-40B4-BE49-F238E27FC236}">
                <a16:creationId xmlns:a16="http://schemas.microsoft.com/office/drawing/2014/main" id="{F27EB8DC-B262-41E2-AAA8-681BBF1DD4CC}"/>
              </a:ext>
            </a:extLst>
          </p:cNvPr>
          <p:cNvGrpSpPr/>
          <p:nvPr/>
        </p:nvGrpSpPr>
        <p:grpSpPr>
          <a:xfrm>
            <a:off x="1327149" y="1607415"/>
            <a:ext cx="7880999" cy="3219450"/>
            <a:chOff x="1327149" y="1607415"/>
            <a:chExt cx="7880999" cy="3219450"/>
          </a:xfrm>
        </p:grpSpPr>
        <p:sp>
          <p:nvSpPr>
            <p:cNvPr id="57" name="Rectangle 17">
              <a:extLst>
                <a:ext uri="{FF2B5EF4-FFF2-40B4-BE49-F238E27FC236}">
                  <a16:creationId xmlns:a16="http://schemas.microsoft.com/office/drawing/2014/main" id="{C69EFE84-6AF1-881B-F987-4EC0055EB69A}"/>
                </a:ext>
              </a:extLst>
            </p:cNvPr>
            <p:cNvSpPr>
              <a:spLocks/>
            </p:cNvSpPr>
            <p:nvPr/>
          </p:nvSpPr>
          <p:spPr>
            <a:xfrm>
              <a:off x="1327149" y="1607415"/>
              <a:ext cx="7880999" cy="3219450"/>
            </a:xfrm>
            <a:prstGeom prst="rect">
              <a:avLst/>
            </a:prstGeom>
            <a:solidFill>
              <a:schemeClr val="accent3">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TextBox 16">
              <a:extLst>
                <a:ext uri="{FF2B5EF4-FFF2-40B4-BE49-F238E27FC236}">
                  <a16:creationId xmlns:a16="http://schemas.microsoft.com/office/drawing/2014/main" id="{4EEE880B-3D45-7F9C-2528-9199EDF162CB}"/>
                </a:ext>
              </a:extLst>
            </p:cNvPr>
            <p:cNvSpPr txBox="1">
              <a:spLocks/>
            </p:cNvSpPr>
            <p:nvPr/>
          </p:nvSpPr>
          <p:spPr>
            <a:xfrm>
              <a:off x="7751370" y="2656892"/>
              <a:ext cx="31529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RF</a:t>
              </a:r>
            </a:p>
          </p:txBody>
        </p:sp>
      </p:grpSp>
      <p:grpSp>
        <p:nvGrpSpPr>
          <p:cNvPr id="7" name="Gruppieren 6">
            <a:extLst>
              <a:ext uri="{FF2B5EF4-FFF2-40B4-BE49-F238E27FC236}">
                <a16:creationId xmlns:a16="http://schemas.microsoft.com/office/drawing/2014/main" id="{3C16D86A-5B68-47CC-B7EB-92A002664689}"/>
              </a:ext>
            </a:extLst>
          </p:cNvPr>
          <p:cNvGrpSpPr/>
          <p:nvPr/>
        </p:nvGrpSpPr>
        <p:grpSpPr>
          <a:xfrm>
            <a:off x="1327150" y="1607415"/>
            <a:ext cx="5252008" cy="3219450"/>
            <a:chOff x="1327150" y="1607415"/>
            <a:chExt cx="5252008" cy="3219450"/>
          </a:xfrm>
        </p:grpSpPr>
        <p:sp>
          <p:nvSpPr>
            <p:cNvPr id="59" name="Rectangle 15">
              <a:extLst>
                <a:ext uri="{FF2B5EF4-FFF2-40B4-BE49-F238E27FC236}">
                  <a16:creationId xmlns:a16="http://schemas.microsoft.com/office/drawing/2014/main" id="{EED929E9-C4D8-C04F-DBF9-2FD953C3993F}"/>
                </a:ext>
              </a:extLst>
            </p:cNvPr>
            <p:cNvSpPr>
              <a:spLocks/>
            </p:cNvSpPr>
            <p:nvPr/>
          </p:nvSpPr>
          <p:spPr>
            <a:xfrm>
              <a:off x="1327150" y="1607415"/>
              <a:ext cx="5252008" cy="321945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TextBox 14">
              <a:extLst>
                <a:ext uri="{FF2B5EF4-FFF2-40B4-BE49-F238E27FC236}">
                  <a16:creationId xmlns:a16="http://schemas.microsoft.com/office/drawing/2014/main" id="{28E10C5F-64E4-17FE-3AAA-47799135C72A}"/>
                </a:ext>
              </a:extLst>
            </p:cNvPr>
            <p:cNvSpPr txBox="1">
              <a:spLocks/>
            </p:cNvSpPr>
            <p:nvPr/>
          </p:nvSpPr>
          <p:spPr>
            <a:xfrm>
              <a:off x="4948524" y="3337632"/>
              <a:ext cx="65030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FCEV</a:t>
              </a:r>
            </a:p>
          </p:txBody>
        </p:sp>
      </p:grpSp>
      <p:grpSp>
        <p:nvGrpSpPr>
          <p:cNvPr id="6" name="Gruppieren 5">
            <a:extLst>
              <a:ext uri="{FF2B5EF4-FFF2-40B4-BE49-F238E27FC236}">
                <a16:creationId xmlns:a16="http://schemas.microsoft.com/office/drawing/2014/main" id="{F2014550-F910-48DF-8BBB-4C1D5DA681C2}"/>
              </a:ext>
            </a:extLst>
          </p:cNvPr>
          <p:cNvGrpSpPr/>
          <p:nvPr/>
        </p:nvGrpSpPr>
        <p:grpSpPr>
          <a:xfrm>
            <a:off x="1327149" y="1609916"/>
            <a:ext cx="2630015" cy="3219450"/>
            <a:chOff x="1327149" y="1609916"/>
            <a:chExt cx="2630015" cy="3219450"/>
          </a:xfrm>
        </p:grpSpPr>
        <p:sp>
          <p:nvSpPr>
            <p:cNvPr id="62" name="Rectangle 13">
              <a:extLst>
                <a:ext uri="{FF2B5EF4-FFF2-40B4-BE49-F238E27FC236}">
                  <a16:creationId xmlns:a16="http://schemas.microsoft.com/office/drawing/2014/main" id="{9FF86F92-414B-A172-A1DE-281F260162B3}"/>
                </a:ext>
              </a:extLst>
            </p:cNvPr>
            <p:cNvSpPr>
              <a:spLocks/>
            </p:cNvSpPr>
            <p:nvPr/>
          </p:nvSpPr>
          <p:spPr>
            <a:xfrm>
              <a:off x="1327149" y="1609916"/>
              <a:ext cx="2630015" cy="3219450"/>
            </a:xfrm>
            <a:prstGeom prst="rect">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TextBox 12">
              <a:extLst>
                <a:ext uri="{FF2B5EF4-FFF2-40B4-BE49-F238E27FC236}">
                  <a16:creationId xmlns:a16="http://schemas.microsoft.com/office/drawing/2014/main" id="{5B1D4D74-2BB7-15A0-B0D3-ABBF0E2F3501}"/>
                </a:ext>
              </a:extLst>
            </p:cNvPr>
            <p:cNvSpPr txBox="1">
              <a:spLocks/>
            </p:cNvSpPr>
            <p:nvPr/>
          </p:nvSpPr>
          <p:spPr>
            <a:xfrm>
              <a:off x="2373415" y="3993714"/>
              <a:ext cx="537483"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BEV</a:t>
              </a:r>
            </a:p>
          </p:txBody>
        </p:sp>
      </p:grpSp>
      <p:cxnSp>
        <p:nvCxnSpPr>
          <p:cNvPr id="56" name="Gerader Verbinder 55">
            <a:extLst>
              <a:ext uri="{FF2B5EF4-FFF2-40B4-BE49-F238E27FC236}">
                <a16:creationId xmlns:a16="http://schemas.microsoft.com/office/drawing/2014/main" id="{F2D53888-7E1A-B3F9-66E8-CB7C367AC64F}"/>
              </a:ext>
            </a:extLst>
          </p:cNvPr>
          <p:cNvCxnSpPr>
            <a:cxnSpLocks/>
          </p:cNvCxnSpPr>
          <p:nvPr/>
        </p:nvCxnSpPr>
        <p:spPr>
          <a:xfrm>
            <a:off x="1327149" y="4826865"/>
            <a:ext cx="7880999" cy="0"/>
          </a:xfrm>
          <a:prstGeom prst="line">
            <a:avLst/>
          </a:prstGeom>
          <a:ln w="9525">
            <a:solidFill>
              <a:schemeClr val="bg1"/>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64" name="TextBox 46">
            <a:extLst>
              <a:ext uri="{FF2B5EF4-FFF2-40B4-BE49-F238E27FC236}">
                <a16:creationId xmlns:a16="http://schemas.microsoft.com/office/drawing/2014/main" id="{12BC8DB6-BAEE-9112-3A33-667266063361}"/>
              </a:ext>
            </a:extLst>
          </p:cNvPr>
          <p:cNvSpPr txBox="1">
            <a:spLocks/>
          </p:cNvSpPr>
          <p:nvPr/>
        </p:nvSpPr>
        <p:spPr>
          <a:xfrm>
            <a:off x="8934859" y="4892342"/>
            <a:ext cx="472185"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100" b="1">
                <a:solidFill>
                  <a:schemeClr val="bg2"/>
                </a:solidFill>
              </a:rPr>
              <a:t>1,500</a:t>
            </a:r>
          </a:p>
        </p:txBody>
      </p:sp>
      <p:sp>
        <p:nvSpPr>
          <p:cNvPr id="65" name="TextBox 46">
            <a:extLst>
              <a:ext uri="{FF2B5EF4-FFF2-40B4-BE49-F238E27FC236}">
                <a16:creationId xmlns:a16="http://schemas.microsoft.com/office/drawing/2014/main" id="{C5728CC6-B861-B8C0-5A8B-6CE3DE8FA018}"/>
              </a:ext>
            </a:extLst>
          </p:cNvPr>
          <p:cNvSpPr txBox="1">
            <a:spLocks/>
          </p:cNvSpPr>
          <p:nvPr/>
        </p:nvSpPr>
        <p:spPr>
          <a:xfrm>
            <a:off x="6362067" y="4892342"/>
            <a:ext cx="472184"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100" b="1">
                <a:solidFill>
                  <a:schemeClr val="bg2"/>
                </a:solidFill>
              </a:rPr>
              <a:t>1,000</a:t>
            </a:r>
          </a:p>
        </p:txBody>
      </p:sp>
      <p:sp>
        <p:nvSpPr>
          <p:cNvPr id="66" name="TextBox 46">
            <a:extLst>
              <a:ext uri="{FF2B5EF4-FFF2-40B4-BE49-F238E27FC236}">
                <a16:creationId xmlns:a16="http://schemas.microsoft.com/office/drawing/2014/main" id="{DF8963DB-5133-1A75-8141-278D9801DAB1}"/>
              </a:ext>
            </a:extLst>
          </p:cNvPr>
          <p:cNvSpPr txBox="1">
            <a:spLocks/>
          </p:cNvSpPr>
          <p:nvPr/>
        </p:nvSpPr>
        <p:spPr>
          <a:xfrm>
            <a:off x="3785378" y="4892342"/>
            <a:ext cx="336550"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100" b="1">
                <a:solidFill>
                  <a:schemeClr val="bg2"/>
                </a:solidFill>
              </a:rPr>
              <a:t>500</a:t>
            </a:r>
          </a:p>
        </p:txBody>
      </p:sp>
      <p:sp>
        <p:nvSpPr>
          <p:cNvPr id="67" name="TextBox 46">
            <a:extLst>
              <a:ext uri="{FF2B5EF4-FFF2-40B4-BE49-F238E27FC236}">
                <a16:creationId xmlns:a16="http://schemas.microsoft.com/office/drawing/2014/main" id="{95AB099D-8DFF-F5AE-C692-8D7493E6D620}"/>
              </a:ext>
            </a:extLst>
          </p:cNvPr>
          <p:cNvSpPr txBox="1">
            <a:spLocks/>
          </p:cNvSpPr>
          <p:nvPr/>
        </p:nvSpPr>
        <p:spPr>
          <a:xfrm>
            <a:off x="1270511" y="4892342"/>
            <a:ext cx="1264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100" b="1">
                <a:solidFill>
                  <a:schemeClr val="bg2"/>
                </a:solidFill>
              </a:rPr>
              <a:t>0</a:t>
            </a:r>
          </a:p>
        </p:txBody>
      </p:sp>
      <p:sp>
        <p:nvSpPr>
          <p:cNvPr id="68" name="TextBox 46">
            <a:extLst>
              <a:ext uri="{FF2B5EF4-FFF2-40B4-BE49-F238E27FC236}">
                <a16:creationId xmlns:a16="http://schemas.microsoft.com/office/drawing/2014/main" id="{724E45FE-99AA-5961-7E33-83DD1BA86D54}"/>
              </a:ext>
            </a:extLst>
          </p:cNvPr>
          <p:cNvSpPr txBox="1">
            <a:spLocks/>
          </p:cNvSpPr>
          <p:nvPr/>
        </p:nvSpPr>
        <p:spPr>
          <a:xfrm>
            <a:off x="804065" y="1614249"/>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100" b="1">
                <a:solidFill>
                  <a:schemeClr val="bg2"/>
                </a:solidFill>
              </a:rPr>
              <a:t>100%</a:t>
            </a:r>
          </a:p>
        </p:txBody>
      </p:sp>
      <p:sp>
        <p:nvSpPr>
          <p:cNvPr id="69" name="TextBox 46">
            <a:extLst>
              <a:ext uri="{FF2B5EF4-FFF2-40B4-BE49-F238E27FC236}">
                <a16:creationId xmlns:a16="http://schemas.microsoft.com/office/drawing/2014/main" id="{E72B1B3B-B265-2960-9F95-05FBDE337148}"/>
              </a:ext>
            </a:extLst>
          </p:cNvPr>
          <p:cNvSpPr txBox="1">
            <a:spLocks/>
          </p:cNvSpPr>
          <p:nvPr/>
        </p:nvSpPr>
        <p:spPr>
          <a:xfrm>
            <a:off x="804065" y="4661921"/>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r>
              <a:rPr lang="en-US" sz="1100" b="1">
                <a:solidFill>
                  <a:schemeClr val="bg2"/>
                </a:solidFill>
              </a:rPr>
              <a:t>0%</a:t>
            </a:r>
          </a:p>
        </p:txBody>
      </p:sp>
      <p:sp>
        <p:nvSpPr>
          <p:cNvPr id="70" name="TextBox 46">
            <a:extLst>
              <a:ext uri="{FF2B5EF4-FFF2-40B4-BE49-F238E27FC236}">
                <a16:creationId xmlns:a16="http://schemas.microsoft.com/office/drawing/2014/main" id="{85B332BD-6610-2F8B-FEDA-FEA707F54C43}"/>
              </a:ext>
            </a:extLst>
          </p:cNvPr>
          <p:cNvSpPr txBox="1">
            <a:spLocks/>
          </p:cNvSpPr>
          <p:nvPr/>
        </p:nvSpPr>
        <p:spPr>
          <a:xfrm>
            <a:off x="804065" y="4052387"/>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r>
              <a:rPr lang="en-US" sz="1100" b="1">
                <a:solidFill>
                  <a:schemeClr val="bg2"/>
                </a:solidFill>
              </a:rPr>
              <a:t>20%</a:t>
            </a:r>
          </a:p>
        </p:txBody>
      </p:sp>
      <p:sp>
        <p:nvSpPr>
          <p:cNvPr id="71" name="TextBox 46">
            <a:extLst>
              <a:ext uri="{FF2B5EF4-FFF2-40B4-BE49-F238E27FC236}">
                <a16:creationId xmlns:a16="http://schemas.microsoft.com/office/drawing/2014/main" id="{117C197F-C079-02C5-C9FA-A6992D632F64}"/>
              </a:ext>
            </a:extLst>
          </p:cNvPr>
          <p:cNvSpPr txBox="1">
            <a:spLocks/>
          </p:cNvSpPr>
          <p:nvPr/>
        </p:nvSpPr>
        <p:spPr>
          <a:xfrm>
            <a:off x="804065" y="3442852"/>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r>
              <a:rPr lang="en-US" sz="1100" b="1">
                <a:solidFill>
                  <a:schemeClr val="bg2"/>
                </a:solidFill>
              </a:rPr>
              <a:t>40%</a:t>
            </a:r>
          </a:p>
        </p:txBody>
      </p:sp>
      <p:sp>
        <p:nvSpPr>
          <p:cNvPr id="72" name="TextBox 46">
            <a:extLst>
              <a:ext uri="{FF2B5EF4-FFF2-40B4-BE49-F238E27FC236}">
                <a16:creationId xmlns:a16="http://schemas.microsoft.com/office/drawing/2014/main" id="{6089F5A3-6716-622A-25A9-77F864EA446F}"/>
              </a:ext>
            </a:extLst>
          </p:cNvPr>
          <p:cNvSpPr txBox="1">
            <a:spLocks/>
          </p:cNvSpPr>
          <p:nvPr/>
        </p:nvSpPr>
        <p:spPr>
          <a:xfrm>
            <a:off x="804065" y="2833318"/>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r>
              <a:rPr lang="en-US" sz="1100" b="1">
                <a:solidFill>
                  <a:schemeClr val="bg2"/>
                </a:solidFill>
              </a:rPr>
              <a:t>60%</a:t>
            </a:r>
          </a:p>
        </p:txBody>
      </p:sp>
      <p:sp>
        <p:nvSpPr>
          <p:cNvPr id="73" name="TextBox 46">
            <a:extLst>
              <a:ext uri="{FF2B5EF4-FFF2-40B4-BE49-F238E27FC236}">
                <a16:creationId xmlns:a16="http://schemas.microsoft.com/office/drawing/2014/main" id="{3CDCE53E-346C-508C-897D-C728C194D859}"/>
              </a:ext>
            </a:extLst>
          </p:cNvPr>
          <p:cNvSpPr txBox="1">
            <a:spLocks/>
          </p:cNvSpPr>
          <p:nvPr/>
        </p:nvSpPr>
        <p:spPr>
          <a:xfrm>
            <a:off x="804065" y="2223783"/>
            <a:ext cx="382588" cy="17177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r>
              <a:rPr lang="en-US" sz="1100" b="1">
                <a:solidFill>
                  <a:schemeClr val="bg2"/>
                </a:solidFill>
              </a:rPr>
              <a:t>80%</a:t>
            </a:r>
          </a:p>
        </p:txBody>
      </p:sp>
      <p:sp>
        <p:nvSpPr>
          <p:cNvPr id="31" name="TextBox 47">
            <a:extLst>
              <a:ext uri="{FF2B5EF4-FFF2-40B4-BE49-F238E27FC236}">
                <a16:creationId xmlns:a16="http://schemas.microsoft.com/office/drawing/2014/main" id="{3BD994BD-2216-AE4B-D500-6C7B6FC57753}"/>
              </a:ext>
            </a:extLst>
          </p:cNvPr>
          <p:cNvSpPr txBox="1">
            <a:spLocks/>
          </p:cNvSpPr>
          <p:nvPr/>
        </p:nvSpPr>
        <p:spPr>
          <a:xfrm rot="16200000">
            <a:off x="-422806" y="2969891"/>
            <a:ext cx="1860222" cy="18742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bg2"/>
                </a:solidFill>
              </a:rPr>
              <a:t>Mean motorway share</a:t>
            </a:r>
          </a:p>
        </p:txBody>
      </p:sp>
      <p:sp>
        <p:nvSpPr>
          <p:cNvPr id="32" name="TextBox 47">
            <a:extLst>
              <a:ext uri="{FF2B5EF4-FFF2-40B4-BE49-F238E27FC236}">
                <a16:creationId xmlns:a16="http://schemas.microsoft.com/office/drawing/2014/main" id="{550DFC47-A003-E745-3121-08558C085CF1}"/>
              </a:ext>
            </a:extLst>
          </p:cNvPr>
          <p:cNvSpPr txBox="1">
            <a:spLocks/>
          </p:cNvSpPr>
          <p:nvPr/>
        </p:nvSpPr>
        <p:spPr>
          <a:xfrm>
            <a:off x="3141447" y="5136294"/>
            <a:ext cx="1860222" cy="18742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1200">
                <a:solidFill>
                  <a:schemeClr val="bg2"/>
                </a:solidFill>
              </a:rPr>
              <a:t>Daily mileage [km]</a:t>
            </a:r>
          </a:p>
        </p:txBody>
      </p:sp>
      <p:sp>
        <p:nvSpPr>
          <p:cNvPr id="34" name="TextBox 20">
            <a:extLst>
              <a:ext uri="{FF2B5EF4-FFF2-40B4-BE49-F238E27FC236}">
                <a16:creationId xmlns:a16="http://schemas.microsoft.com/office/drawing/2014/main" id="{9A51FC36-781A-41A6-AE9C-511D234A0F8A}"/>
              </a:ext>
            </a:extLst>
          </p:cNvPr>
          <p:cNvSpPr txBox="1"/>
          <p:nvPr/>
        </p:nvSpPr>
        <p:spPr>
          <a:xfrm>
            <a:off x="415162" y="5997502"/>
            <a:ext cx="5719514" cy="276999"/>
          </a:xfrm>
          <a:prstGeom prst="rect">
            <a:avLst/>
          </a:prstGeom>
          <a:noFill/>
        </p:spPr>
        <p:txBody>
          <a:bodyPr wrap="none" lIns="0" tIns="0" rIns="0" bIns="0" rtlCol="0">
            <a:spAutoFit/>
          </a:bodyPr>
          <a:lstStyle/>
          <a:p>
            <a:pPr algn="l"/>
            <a:r>
              <a:rPr lang="en-US" sz="900" b="1">
                <a:solidFill>
                  <a:schemeClr val="bg2">
                    <a:lumMod val="100000"/>
                  </a:schemeClr>
                </a:solidFill>
                <a:latin typeface="Arial" panose="020B0604020202020204" pitchFamily="34" charset="0"/>
              </a:rPr>
              <a:t>BEV: </a:t>
            </a:r>
            <a:r>
              <a:rPr lang="en-US" sz="900">
                <a:solidFill>
                  <a:schemeClr val="bg2">
                    <a:lumMod val="100000"/>
                  </a:schemeClr>
                </a:solidFill>
                <a:latin typeface="Arial" panose="020B0604020202020204" pitchFamily="34" charset="0"/>
              </a:rPr>
              <a:t>Battery electric vehicle </a:t>
            </a:r>
            <a:r>
              <a:rPr lang="en-US" sz="900">
                <a:solidFill>
                  <a:schemeClr val="bg1">
                    <a:lumMod val="100000"/>
                  </a:schemeClr>
                </a:solidFill>
                <a:latin typeface="Arial" panose="020B0604020202020204" pitchFamily="34" charset="0"/>
              </a:rPr>
              <a:t>| </a:t>
            </a:r>
            <a:r>
              <a:rPr lang="en-US" sz="900" b="1">
                <a:solidFill>
                  <a:schemeClr val="bg2">
                    <a:lumMod val="100000"/>
                  </a:schemeClr>
                </a:solidFill>
                <a:latin typeface="Arial" panose="020B0604020202020204" pitchFamily="34" charset="0"/>
              </a:rPr>
              <a:t>FCEV</a:t>
            </a:r>
            <a:r>
              <a:rPr lang="en-US" sz="900">
                <a:solidFill>
                  <a:schemeClr val="bg2">
                    <a:lumMod val="100000"/>
                  </a:schemeClr>
                </a:solidFill>
                <a:latin typeface="Arial" panose="020B0604020202020204" pitchFamily="34" charset="0"/>
              </a:rPr>
              <a:t>: Fuel cell electric vehicles </a:t>
            </a:r>
            <a:r>
              <a:rPr lang="en-US" sz="900">
                <a:solidFill>
                  <a:schemeClr val="bg1">
                    <a:lumMod val="100000"/>
                  </a:schemeClr>
                </a:solidFill>
                <a:latin typeface="Arial" panose="020B0604020202020204" pitchFamily="34" charset="0"/>
              </a:rPr>
              <a:t>| </a:t>
            </a:r>
            <a:r>
              <a:rPr lang="en-US" sz="900" b="1">
                <a:solidFill>
                  <a:schemeClr val="bg2">
                    <a:lumMod val="100000"/>
                  </a:schemeClr>
                </a:solidFill>
                <a:latin typeface="Arial" panose="020B0604020202020204" pitchFamily="34" charset="0"/>
              </a:rPr>
              <a:t>RF</a:t>
            </a:r>
            <a:r>
              <a:rPr lang="en-US" sz="900">
                <a:solidFill>
                  <a:schemeClr val="bg2">
                    <a:lumMod val="100000"/>
                  </a:schemeClr>
                </a:solidFill>
                <a:latin typeface="Arial" panose="020B0604020202020204" pitchFamily="34" charset="0"/>
              </a:rPr>
              <a:t>: Renewable fuel (for combustion engine)</a:t>
            </a:r>
          </a:p>
          <a:p>
            <a:pPr algn="l"/>
            <a:r>
              <a:rPr lang="en-US" sz="900" b="1">
                <a:solidFill>
                  <a:schemeClr val="bg1">
                    <a:lumMod val="100000"/>
                  </a:schemeClr>
                </a:solidFill>
                <a:latin typeface="Arial" panose="020B0604020202020204" pitchFamily="34" charset="0"/>
              </a:rPr>
              <a:t>Source: </a:t>
            </a:r>
            <a:r>
              <a:rPr lang="en-US" sz="900">
                <a:solidFill>
                  <a:schemeClr val="bg1">
                    <a:lumMod val="100000"/>
                  </a:schemeClr>
                </a:solidFill>
                <a:latin typeface="Arial" panose="020B0604020202020204" pitchFamily="34" charset="0"/>
                <a:hlinkClick r:id="rId7"/>
              </a:rPr>
              <a:t>Fraunhofer feasibility study </a:t>
            </a:r>
            <a:r>
              <a:rPr lang="en-US" sz="900">
                <a:solidFill>
                  <a:schemeClr val="bg1">
                    <a:lumMod val="100000"/>
                  </a:schemeClr>
                </a:solidFill>
                <a:latin typeface="Arial" panose="020B0604020202020204" pitchFamily="34" charset="0"/>
              </a:rPr>
              <a:t>of catenary trucking, on behalf of the German Transport Ministry, page 131 </a:t>
            </a:r>
          </a:p>
        </p:txBody>
      </p:sp>
      <p:sp>
        <p:nvSpPr>
          <p:cNvPr id="30" name="Freihandform: Form 29">
            <a:extLst>
              <a:ext uri="{FF2B5EF4-FFF2-40B4-BE49-F238E27FC236}">
                <a16:creationId xmlns:a16="http://schemas.microsoft.com/office/drawing/2014/main" id="{22377B69-4BAE-49D6-919E-AB6274645434}"/>
              </a:ext>
            </a:extLst>
          </p:cNvPr>
          <p:cNvSpPr/>
          <p:nvPr/>
        </p:nvSpPr>
        <p:spPr>
          <a:xfrm>
            <a:off x="1327149" y="1594496"/>
            <a:ext cx="8079895" cy="3225155"/>
          </a:xfrm>
          <a:custGeom>
            <a:avLst/>
            <a:gdLst>
              <a:gd name="connsiteX0" fmla="*/ 0 w 4791075"/>
              <a:gd name="connsiteY0" fmla="*/ 3190875 h 3190875"/>
              <a:gd name="connsiteX1" fmla="*/ 1514475 w 4791075"/>
              <a:gd name="connsiteY1" fmla="*/ 1038225 h 3190875"/>
              <a:gd name="connsiteX2" fmla="*/ 4791075 w 4791075"/>
              <a:gd name="connsiteY2" fmla="*/ 0 h 3190875"/>
              <a:gd name="connsiteX3" fmla="*/ 4791075 w 4791075"/>
              <a:gd name="connsiteY3" fmla="*/ 0 h 3190875"/>
              <a:gd name="connsiteX0" fmla="*/ 0 w 4791075"/>
              <a:gd name="connsiteY0" fmla="*/ 3203922 h 3203922"/>
              <a:gd name="connsiteX1" fmla="*/ 1542715 w 4791075"/>
              <a:gd name="connsiteY1" fmla="*/ 418762 h 3203922"/>
              <a:gd name="connsiteX2" fmla="*/ 4791075 w 4791075"/>
              <a:gd name="connsiteY2" fmla="*/ 13047 h 3203922"/>
              <a:gd name="connsiteX3" fmla="*/ 4791075 w 4791075"/>
              <a:gd name="connsiteY3" fmla="*/ 13047 h 3203922"/>
              <a:gd name="connsiteX0" fmla="*/ 0 w 4791075"/>
              <a:gd name="connsiteY0" fmla="*/ 3203922 h 3203922"/>
              <a:gd name="connsiteX1" fmla="*/ 1565307 w 4791075"/>
              <a:gd name="connsiteY1" fmla="*/ 418762 h 3203922"/>
              <a:gd name="connsiteX2" fmla="*/ 4791075 w 4791075"/>
              <a:gd name="connsiteY2" fmla="*/ 13047 h 3203922"/>
              <a:gd name="connsiteX3" fmla="*/ 4791075 w 4791075"/>
              <a:gd name="connsiteY3" fmla="*/ 13047 h 3203922"/>
              <a:gd name="connsiteX0" fmla="*/ 0 w 4791075"/>
              <a:gd name="connsiteY0" fmla="*/ 3203922 h 3203922"/>
              <a:gd name="connsiteX1" fmla="*/ 1565307 w 4791075"/>
              <a:gd name="connsiteY1" fmla="*/ 418762 h 3203922"/>
              <a:gd name="connsiteX2" fmla="*/ 4791075 w 4791075"/>
              <a:gd name="connsiteY2" fmla="*/ 13047 h 3203922"/>
              <a:gd name="connsiteX3" fmla="*/ 4791075 w 4791075"/>
              <a:gd name="connsiteY3" fmla="*/ 116892 h 3203922"/>
              <a:gd name="connsiteX0" fmla="*/ 0 w 4791075"/>
              <a:gd name="connsiteY0" fmla="*/ 3203922 h 3203922"/>
              <a:gd name="connsiteX1" fmla="*/ 1565307 w 4791075"/>
              <a:gd name="connsiteY1" fmla="*/ 418762 h 3203922"/>
              <a:gd name="connsiteX2" fmla="*/ 4791075 w 4791075"/>
              <a:gd name="connsiteY2" fmla="*/ 13047 h 3203922"/>
              <a:gd name="connsiteX0" fmla="*/ 0 w 4791075"/>
              <a:gd name="connsiteY0" fmla="*/ 3155289 h 3155289"/>
              <a:gd name="connsiteX1" fmla="*/ 1565307 w 4791075"/>
              <a:gd name="connsiteY1" fmla="*/ 370129 h 3155289"/>
              <a:gd name="connsiteX2" fmla="*/ 4791075 w 4791075"/>
              <a:gd name="connsiteY2" fmla="*/ 30497 h 3155289"/>
              <a:gd name="connsiteX0" fmla="*/ 0 w 4791075"/>
              <a:gd name="connsiteY0" fmla="*/ 3196530 h 3196530"/>
              <a:gd name="connsiteX1" fmla="*/ 1565307 w 4791075"/>
              <a:gd name="connsiteY1" fmla="*/ 411370 h 3196530"/>
              <a:gd name="connsiteX2" fmla="*/ 4791075 w 4791075"/>
              <a:gd name="connsiteY2" fmla="*/ 15095 h 3196530"/>
            </a:gdLst>
            <a:ahLst/>
            <a:cxnLst>
              <a:cxn ang="0">
                <a:pos x="connsiteX0" y="connsiteY0"/>
              </a:cxn>
              <a:cxn ang="0">
                <a:pos x="connsiteX1" y="connsiteY1"/>
              </a:cxn>
              <a:cxn ang="0">
                <a:pos x="connsiteX2" y="connsiteY2"/>
              </a:cxn>
            </a:cxnLst>
            <a:rect l="l" t="t" r="r" b="b"/>
            <a:pathLst>
              <a:path w="4791075" h="3196530">
                <a:moveTo>
                  <a:pt x="0" y="3196530"/>
                </a:moveTo>
                <a:cubicBezTo>
                  <a:pt x="357981" y="2386111"/>
                  <a:pt x="766794" y="941609"/>
                  <a:pt x="1565307" y="411370"/>
                </a:cubicBezTo>
                <a:cubicBezTo>
                  <a:pt x="2363820" y="-118869"/>
                  <a:pt x="4791075" y="15095"/>
                  <a:pt x="4791075" y="1509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ichtungspfeil 17">
            <a:extLst>
              <a:ext uri="{FF2B5EF4-FFF2-40B4-BE49-F238E27FC236}">
                <a16:creationId xmlns:a16="http://schemas.microsoft.com/office/drawing/2014/main" id="{F9BE5E1F-2FA9-4987-907C-0CA48C671D17}"/>
              </a:ext>
            </a:extLst>
          </p:cNvPr>
          <p:cNvSpPr>
            <a:spLocks/>
          </p:cNvSpPr>
          <p:nvPr>
            <p:custDataLst>
              <p:tags r:id="rId2"/>
            </p:custDataLst>
          </p:nvPr>
        </p:nvSpPr>
        <p:spPr bwMode="gray">
          <a:xfrm>
            <a:off x="9725660" y="1933617"/>
            <a:ext cx="2052747" cy="646331"/>
          </a:xfrm>
          <a:prstGeom prst="rect">
            <a:avLst/>
          </a:prstGeom>
        </p:spPr>
        <p:txBody>
          <a:bodyPr vert="horz" wrap="square" lIns="0" tIns="0" rIns="0" bIns="0" rtlCol="0">
            <a:spAutoFit/>
          </a:bodyPr>
          <a:lstStyle/>
          <a:p>
            <a:pPr marL="0" lvl="1">
              <a:buClr>
                <a:srgbClr val="9999A9"/>
              </a:buClr>
              <a:buSzPct val="100000"/>
            </a:pPr>
            <a:r>
              <a:rPr lang="en-US" sz="1400">
                <a:solidFill>
                  <a:srgbClr val="CCCCD4"/>
                </a:solidFill>
              </a:rPr>
              <a:t>Journeys of </a:t>
            </a:r>
            <a:r>
              <a:rPr lang="en-US" sz="1400" b="1">
                <a:solidFill>
                  <a:srgbClr val="CCCCD4"/>
                </a:solidFill>
              </a:rPr>
              <a:t>500 km </a:t>
            </a:r>
            <a:r>
              <a:rPr lang="en-US" sz="1400">
                <a:solidFill>
                  <a:srgbClr val="CCCCD4"/>
                </a:solidFill>
              </a:rPr>
              <a:t>or more are almost entirely on motorways </a:t>
            </a:r>
            <a:r>
              <a:rPr lang="en-US" sz="1400" b="1">
                <a:solidFill>
                  <a:srgbClr val="CCCCD4"/>
                </a:solidFill>
              </a:rPr>
              <a:t>(&gt;80%)</a:t>
            </a:r>
          </a:p>
        </p:txBody>
      </p:sp>
      <p:sp>
        <p:nvSpPr>
          <p:cNvPr id="35" name="Titel 1">
            <a:extLst>
              <a:ext uri="{FF2B5EF4-FFF2-40B4-BE49-F238E27FC236}">
                <a16:creationId xmlns:a16="http://schemas.microsoft.com/office/drawing/2014/main" id="{282EBF0A-127D-4A1F-9ED7-34AE9CBBDBB0}"/>
              </a:ext>
            </a:extLst>
          </p:cNvPr>
          <p:cNvSpPr txBox="1">
            <a:spLocks/>
          </p:cNvSpPr>
          <p:nvPr/>
        </p:nvSpPr>
        <p:spPr>
          <a:xfrm>
            <a:off x="411163" y="478887"/>
            <a:ext cx="9863997" cy="576000"/>
          </a:xfrm>
          <a:prstGeom prst="rect">
            <a:avLst/>
          </a:prstGeom>
        </p:spPr>
        <p:txBody>
          <a:bodyPr vert="horz" lIns="0" tIns="0" rIns="324000" bIns="14400" rtlCol="0" anchor="t" anchorCtr="0">
            <a:noAutofit/>
          </a:bodyPr>
          <a:lstStyle>
            <a:lvl1pPr algn="l" defTabSz="914400" rtl="0" eaLnBrk="1" latinLnBrk="0" hangingPunct="1">
              <a:lnSpc>
                <a:spcPct val="90000"/>
              </a:lnSpc>
              <a:spcBef>
                <a:spcPct val="0"/>
              </a:spcBef>
              <a:buNone/>
              <a:defRPr sz="2000" b="1" kern="1200">
                <a:solidFill>
                  <a:schemeClr val="bg1"/>
                </a:solidFill>
                <a:latin typeface="+mj-lt"/>
                <a:ea typeface="+mj-ea"/>
                <a:cs typeface="+mj-cs"/>
              </a:defRPr>
            </a:lvl1pPr>
          </a:lstStyle>
          <a:p>
            <a:br>
              <a:rPr lang="en-US" dirty="0"/>
            </a:br>
            <a:r>
              <a:rPr lang="en-US" b="0" dirty="0">
                <a:solidFill>
                  <a:prstClr val="white"/>
                </a:solidFill>
                <a:latin typeface="Arial"/>
              </a:rPr>
              <a:t>Long range happens almost exclusively on highways</a:t>
            </a:r>
            <a:endParaRPr lang="de-DE" dirty="0"/>
          </a:p>
        </p:txBody>
      </p:sp>
    </p:spTree>
    <p:extLst>
      <p:ext uri="{BB962C8B-B14F-4D97-AF65-F5344CB8AC3E}">
        <p14:creationId xmlns:p14="http://schemas.microsoft.com/office/powerpoint/2010/main" val="266253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10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ipe(left)">
                                      <p:cBhvr>
                                        <p:cTn id="17" dur="1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9"/>
                                        </p:tgtEl>
                                        <p:attrNameLst>
                                          <p:attrName>style.visibility</p:attrName>
                                        </p:attrNameLst>
                                      </p:cBhvr>
                                      <p:to>
                                        <p:strVal val="visible"/>
                                      </p:to>
                                    </p:set>
                                    <p:animEffect transition="in" filter="fade">
                                      <p:cBhvr>
                                        <p:cTn id="28" dur="500"/>
                                        <p:tgtEl>
                                          <p:spTgt spid="6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0"/>
                                        </p:tgtEl>
                                        <p:attrNameLst>
                                          <p:attrName>style.visibility</p:attrName>
                                        </p:attrNameLst>
                                      </p:cBhvr>
                                      <p:to>
                                        <p:strVal val="visible"/>
                                      </p:to>
                                    </p:set>
                                    <p:animEffect transition="in" filter="fade">
                                      <p:cBhvr>
                                        <p:cTn id="31" dur="500"/>
                                        <p:tgtEl>
                                          <p:spTgt spid="7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1"/>
                                        </p:tgtEl>
                                        <p:attrNameLst>
                                          <p:attrName>style.visibility</p:attrName>
                                        </p:attrNameLst>
                                      </p:cBhvr>
                                      <p:to>
                                        <p:strVal val="visible"/>
                                      </p:to>
                                    </p:set>
                                    <p:animEffect transition="in" filter="fade">
                                      <p:cBhvr>
                                        <p:cTn id="34" dur="500"/>
                                        <p:tgtEl>
                                          <p:spTgt spid="7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2"/>
                                        </p:tgtEl>
                                        <p:attrNameLst>
                                          <p:attrName>style.visibility</p:attrName>
                                        </p:attrNameLst>
                                      </p:cBhvr>
                                      <p:to>
                                        <p:strVal val="visible"/>
                                      </p:to>
                                    </p:set>
                                    <p:animEffect transition="in" filter="fade">
                                      <p:cBhvr>
                                        <p:cTn id="37" dur="500"/>
                                        <p:tgtEl>
                                          <p:spTgt spid="7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3"/>
                                        </p:tgtEl>
                                        <p:attrNameLst>
                                          <p:attrName>style.visibility</p:attrName>
                                        </p:attrNameLst>
                                      </p:cBhvr>
                                      <p:to>
                                        <p:strVal val="visible"/>
                                      </p:to>
                                    </p:set>
                                    <p:animEffect transition="in" filter="fade">
                                      <p:cBhvr>
                                        <p:cTn id="40" dur="500"/>
                                        <p:tgtEl>
                                          <p:spTgt spid="7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3"/>
                                        </p:tgtEl>
                                        <p:attrNameLst>
                                          <p:attrName>style.visibility</p:attrName>
                                        </p:attrNameLst>
                                      </p:cBhvr>
                                      <p:to>
                                        <p:strVal val="visible"/>
                                      </p:to>
                                    </p:set>
                                    <p:animEffect transition="in" filter="fade">
                                      <p:cBhvr>
                                        <p:cTn id="4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P spid="69" grpId="0"/>
      <p:bldP spid="70" grpId="0"/>
      <p:bldP spid="71" grpId="0"/>
      <p:bldP spid="72" grpId="0"/>
      <p:bldP spid="73" grpId="0"/>
      <p:bldP spid="31" grpId="0"/>
      <p:bldP spid="30" grpId="0" animBg="1"/>
      <p:bldP spid="33" grpId="0"/>
      <p:bldP spid="3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extLst>
              <p:ext uri="{D42A27DB-BD31-4B8C-83A1-F6EECF244321}">
                <p14:modId xmlns:p14="http://schemas.microsoft.com/office/powerpoint/2010/main" val="1773486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timetomarket</a:t>
            </a:r>
          </a:p>
        </p:txBody>
      </p:sp>
      <p:grpSp>
        <p:nvGrpSpPr>
          <p:cNvPr id="14" name="Gruppieren 13">
            <a:extLst>
              <a:ext uri="{FF2B5EF4-FFF2-40B4-BE49-F238E27FC236}">
                <a16:creationId xmlns:a16="http://schemas.microsoft.com/office/drawing/2014/main" id="{C30EEA14-E247-403D-ACF7-D1BF0120F95F}"/>
              </a:ext>
            </a:extLst>
          </p:cNvPr>
          <p:cNvGrpSpPr>
            <a:grpSpLocks/>
          </p:cNvGrpSpPr>
          <p:nvPr/>
        </p:nvGrpSpPr>
        <p:grpSpPr>
          <a:xfrm>
            <a:off x="9898857" y="3919131"/>
            <a:ext cx="1888331" cy="1887944"/>
            <a:chOff x="5355001" y="2214568"/>
            <a:chExt cx="419530" cy="419444"/>
          </a:xfrm>
        </p:grpSpPr>
        <p:sp>
          <p:nvSpPr>
            <p:cNvPr id="15" name="Rectangle 12">
              <a:extLst>
                <a:ext uri="{FF2B5EF4-FFF2-40B4-BE49-F238E27FC236}">
                  <a16:creationId xmlns:a16="http://schemas.microsoft.com/office/drawing/2014/main" id="{76597027-C98F-40F8-80BA-91FAE99C595E}"/>
                </a:ext>
              </a:extLst>
            </p:cNvPr>
            <p:cNvSpPr>
              <a:spLocks/>
            </p:cNvSpPr>
            <p:nvPr/>
          </p:nvSpPr>
          <p:spPr>
            <a:xfrm>
              <a:off x="5355001" y="2214568"/>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6" name="Grafik 5" descr="Ein Bild, das Pfeil enthält.&#10;&#10;Beschreibung automatisch generiert.">
              <a:extLst>
                <a:ext uri="{FF2B5EF4-FFF2-40B4-BE49-F238E27FC236}">
                  <a16:creationId xmlns:a16="http://schemas.microsoft.com/office/drawing/2014/main" id="{7ACB2312-7C3B-4C52-8EE8-562A0221764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7854" t="47584" r="17406" b="20175"/>
            <a:stretch/>
          </p:blipFill>
          <p:spPr>
            <a:xfrm>
              <a:off x="5409370" y="2311400"/>
              <a:ext cx="310792" cy="227912"/>
            </a:xfrm>
            <a:prstGeom prst="rect">
              <a:avLst/>
            </a:prstGeom>
          </p:spPr>
        </p:pic>
      </p:grpSp>
    </p:spTree>
    <p:extLst>
      <p:ext uri="{BB962C8B-B14F-4D97-AF65-F5344CB8AC3E}">
        <p14:creationId xmlns:p14="http://schemas.microsoft.com/office/powerpoint/2010/main" val="838409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AF092F5-8B1B-AAB1-2435-4F5D70588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4" name="Objekt 3" hidden="1">
                        <a:extLst>
                          <a:ext uri="{FF2B5EF4-FFF2-40B4-BE49-F238E27FC236}">
                            <a16:creationId xmlns:a16="http://schemas.microsoft.com/office/drawing/2014/main" id="{5AF092F5-8B1B-AAB1-2435-4F5D70588E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AC46EE9-FBAA-F086-DCFE-D61228608287}"/>
              </a:ext>
            </a:extLst>
          </p:cNvPr>
          <p:cNvSpPr>
            <a:spLocks noGrp="1"/>
          </p:cNvSpPr>
          <p:nvPr>
            <p:ph type="title"/>
          </p:nvPr>
        </p:nvSpPr>
        <p:spPr>
          <a:xfrm>
            <a:off x="410400" y="478800"/>
            <a:ext cx="11268078" cy="291540"/>
          </a:xfrm>
        </p:spPr>
        <p:txBody>
          <a:bodyPr vert="horz">
            <a:spAutoFit/>
          </a:bodyPr>
          <a:lstStyle/>
          <a:p>
            <a:r>
              <a:rPr lang="en-US"/>
              <a:t>Reaching political goals requires around 70% of truck sales in 2030 being zero emission</a:t>
            </a:r>
          </a:p>
        </p:txBody>
      </p:sp>
      <p:graphicFrame>
        <p:nvGraphicFramePr>
          <p:cNvPr id="7" name="Diagramm 6">
            <a:extLst>
              <a:ext uri="{FF2B5EF4-FFF2-40B4-BE49-F238E27FC236}">
                <a16:creationId xmlns:a16="http://schemas.microsoft.com/office/drawing/2014/main" id="{565EC14A-8F87-4535-3DCA-B7ADD1FEA942}"/>
              </a:ext>
            </a:extLst>
          </p:cNvPr>
          <p:cNvGraphicFramePr/>
          <p:nvPr/>
        </p:nvGraphicFramePr>
        <p:xfrm>
          <a:off x="404812" y="1839685"/>
          <a:ext cx="6594475" cy="3967389"/>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feld 10">
            <a:extLst>
              <a:ext uri="{FF2B5EF4-FFF2-40B4-BE49-F238E27FC236}">
                <a16:creationId xmlns:a16="http://schemas.microsoft.com/office/drawing/2014/main" id="{4A25ADC0-6D52-A686-79DB-B3A3A23FE894}"/>
              </a:ext>
            </a:extLst>
          </p:cNvPr>
          <p:cNvSpPr txBox="1"/>
          <p:nvPr/>
        </p:nvSpPr>
        <p:spPr>
          <a:xfrm>
            <a:off x="420688" y="1426970"/>
            <a:ext cx="6096000" cy="307777"/>
          </a:xfrm>
          <a:prstGeom prst="rect">
            <a:avLst/>
          </a:prstGeom>
          <a:noFill/>
        </p:spPr>
        <p:txBody>
          <a:bodyPr wrap="square" lIns="0" tIns="0" rIns="0" bIns="0">
            <a:spAutoFit/>
          </a:bodyPr>
          <a:lstStyle/>
          <a:p>
            <a:pPr rtl="0">
              <a:defRPr sz="1400" b="1" i="0" u="none" strike="noStrike" kern="1200" spc="0" baseline="0">
                <a:solidFill>
                  <a:prstClr val="white">
                    <a:lumMod val="85000"/>
                  </a:prstClr>
                </a:solidFill>
                <a:latin typeface="+mn-lt"/>
                <a:ea typeface="+mn-ea"/>
                <a:cs typeface="+mn-cs"/>
              </a:defRPr>
            </a:pPr>
            <a:r>
              <a:rPr lang="en-US" sz="2000">
                <a:gradFill>
                  <a:gsLst>
                    <a:gs pos="0">
                      <a:srgbClr val="00FFB9"/>
                    </a:gs>
                    <a:gs pos="100000">
                      <a:srgbClr val="00E6DC"/>
                    </a:gs>
                  </a:gsLst>
                  <a:lin ang="0" scaled="0"/>
                </a:gradFill>
              </a:rPr>
              <a:t>Share of new reg. semi-trucks [%]</a:t>
            </a:r>
          </a:p>
        </p:txBody>
      </p:sp>
      <p:grpSp>
        <p:nvGrpSpPr>
          <p:cNvPr id="17" name="Gruppieren 16">
            <a:extLst>
              <a:ext uri="{FF2B5EF4-FFF2-40B4-BE49-F238E27FC236}">
                <a16:creationId xmlns:a16="http://schemas.microsoft.com/office/drawing/2014/main" id="{582DCBDD-1272-6F0B-BB7A-179A30CEE853}"/>
              </a:ext>
            </a:extLst>
          </p:cNvPr>
          <p:cNvGrpSpPr/>
          <p:nvPr/>
        </p:nvGrpSpPr>
        <p:grpSpPr>
          <a:xfrm>
            <a:off x="415926" y="6157122"/>
            <a:ext cx="1934901" cy="140488"/>
            <a:chOff x="420688" y="6019069"/>
            <a:chExt cx="1934901" cy="140488"/>
          </a:xfrm>
        </p:grpSpPr>
        <p:sp>
          <p:nvSpPr>
            <p:cNvPr id="13" name="Rechteck 12">
              <a:extLst>
                <a:ext uri="{FF2B5EF4-FFF2-40B4-BE49-F238E27FC236}">
                  <a16:creationId xmlns:a16="http://schemas.microsoft.com/office/drawing/2014/main" id="{A270D0FF-4821-9749-A485-6AA652811B2C}"/>
                </a:ext>
              </a:extLst>
            </p:cNvPr>
            <p:cNvSpPr>
              <a:spLocks/>
            </p:cNvSpPr>
            <p:nvPr/>
          </p:nvSpPr>
          <p:spPr>
            <a:xfrm>
              <a:off x="420688" y="6041688"/>
              <a:ext cx="95250" cy="95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4" name="Rechteck 13">
              <a:extLst>
                <a:ext uri="{FF2B5EF4-FFF2-40B4-BE49-F238E27FC236}">
                  <a16:creationId xmlns:a16="http://schemas.microsoft.com/office/drawing/2014/main" id="{1D015D04-3F0B-9D02-131A-4E1BA103D6A6}"/>
                </a:ext>
              </a:extLst>
            </p:cNvPr>
            <p:cNvSpPr>
              <a:spLocks/>
            </p:cNvSpPr>
            <p:nvPr/>
          </p:nvSpPr>
          <p:spPr>
            <a:xfrm>
              <a:off x="967264" y="6041688"/>
              <a:ext cx="95250"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5" name="TextBox 18">
              <a:extLst>
                <a:ext uri="{FF2B5EF4-FFF2-40B4-BE49-F238E27FC236}">
                  <a16:creationId xmlns:a16="http://schemas.microsoft.com/office/drawing/2014/main" id="{B0B7940C-3628-9614-3000-A4C9A9EF06CC}"/>
                </a:ext>
              </a:extLst>
            </p:cNvPr>
            <p:cNvSpPr txBox="1">
              <a:spLocks/>
            </p:cNvSpPr>
            <p:nvPr/>
          </p:nvSpPr>
          <p:spPr>
            <a:xfrm>
              <a:off x="559118" y="6025482"/>
              <a:ext cx="319563"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Diesel</a:t>
              </a:r>
            </a:p>
          </p:txBody>
        </p:sp>
        <p:sp>
          <p:nvSpPr>
            <p:cNvPr id="16" name="TextBox 18">
              <a:extLst>
                <a:ext uri="{FF2B5EF4-FFF2-40B4-BE49-F238E27FC236}">
                  <a16:creationId xmlns:a16="http://schemas.microsoft.com/office/drawing/2014/main" id="{F17889A0-04AA-5E24-57B3-E91907CE1E2F}"/>
                </a:ext>
              </a:extLst>
            </p:cNvPr>
            <p:cNvSpPr txBox="1">
              <a:spLocks/>
            </p:cNvSpPr>
            <p:nvPr/>
          </p:nvSpPr>
          <p:spPr>
            <a:xfrm>
              <a:off x="1106170" y="6019069"/>
              <a:ext cx="1249419"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Zero emission vehicles</a:t>
              </a:r>
            </a:p>
          </p:txBody>
        </p:sp>
      </p:grpSp>
      <p:sp>
        <p:nvSpPr>
          <p:cNvPr id="20" name="Richtungspfeil 17">
            <a:extLst>
              <a:ext uri="{FF2B5EF4-FFF2-40B4-BE49-F238E27FC236}">
                <a16:creationId xmlns:a16="http://schemas.microsoft.com/office/drawing/2014/main" id="{A8AE90C2-D55B-9537-80AF-AD874E68051A}"/>
              </a:ext>
            </a:extLst>
          </p:cNvPr>
          <p:cNvSpPr>
            <a:spLocks/>
          </p:cNvSpPr>
          <p:nvPr>
            <p:custDataLst>
              <p:tags r:id="rId2"/>
            </p:custDataLst>
          </p:nvPr>
        </p:nvSpPr>
        <p:spPr bwMode="gray">
          <a:xfrm>
            <a:off x="7685590" y="1839685"/>
            <a:ext cx="4101597" cy="1477328"/>
          </a:xfrm>
          <a:prstGeom prst="rect">
            <a:avLst/>
          </a:prstGeom>
        </p:spPr>
        <p:txBody>
          <a:bodyPr vert="horz" wrap="square" lIns="0" tIns="0" rIns="0" bIns="0" rtlCol="0">
            <a:spAutoFit/>
          </a:bodyPr>
          <a:lstStyle/>
          <a:p>
            <a:pPr defTabSz="913943" fontAlgn="base">
              <a:spcAft>
                <a:spcPts val="300"/>
              </a:spcAft>
            </a:pPr>
            <a:r>
              <a:rPr lang="en-US" sz="1600">
                <a:solidFill>
                  <a:srgbClr val="CCCCD4"/>
                </a:solidFill>
                <a:ea typeface="Arial Unicode MS" panose="020B0604020202020204" pitchFamily="34" charset="-128"/>
                <a:cs typeface="Arial Unicode MS" panose="020B0604020202020204" pitchFamily="34" charset="-128"/>
              </a:rPr>
              <a:t>Analyses show that reaching key political goals (e.g., Paris Agreement, EU Fit-for-55, Germany’s national goal: 1/3 mileage using electricity) will require a 70% share of new semi-truck sales to be electrified zero emission trucks in 2030.</a:t>
            </a:r>
            <a:endParaRPr lang="en-US" sz="2400" b="1">
              <a:solidFill>
                <a:srgbClr val="00FFB9"/>
              </a:solidFill>
              <a:ea typeface="Arial Unicode MS" panose="020B0604020202020204" pitchFamily="34" charset="-128"/>
              <a:cs typeface="Arial Unicode MS" panose="020B0604020202020204" pitchFamily="34" charset="-128"/>
            </a:endParaRPr>
          </a:p>
        </p:txBody>
      </p:sp>
      <p:sp>
        <p:nvSpPr>
          <p:cNvPr id="21" name="Richtungspfeil 17">
            <a:extLst>
              <a:ext uri="{FF2B5EF4-FFF2-40B4-BE49-F238E27FC236}">
                <a16:creationId xmlns:a16="http://schemas.microsoft.com/office/drawing/2014/main" id="{B5DA32B4-B2CC-CE16-B916-FB1A7E7C4213}"/>
              </a:ext>
            </a:extLst>
          </p:cNvPr>
          <p:cNvSpPr>
            <a:spLocks/>
          </p:cNvSpPr>
          <p:nvPr>
            <p:custDataLst>
              <p:tags r:id="rId3"/>
            </p:custDataLst>
          </p:nvPr>
        </p:nvSpPr>
        <p:spPr bwMode="gray">
          <a:xfrm>
            <a:off x="7685591" y="4337129"/>
            <a:ext cx="4101597" cy="1107996"/>
          </a:xfrm>
          <a:prstGeom prst="rect">
            <a:avLst/>
          </a:prstGeom>
        </p:spPr>
        <p:txBody>
          <a:bodyPr vert="horz" wrap="square" lIns="0" tIns="0" rIns="0" bIns="0" rtlCol="0">
            <a:spAutoFit/>
          </a:bodyPr>
          <a:lstStyle/>
          <a:p>
            <a:pPr defTabSz="913943" fontAlgn="base">
              <a:spcAft>
                <a:spcPts val="300"/>
              </a:spcAft>
            </a:pPr>
            <a:r>
              <a:rPr lang="en-US" b="1">
                <a:solidFill>
                  <a:srgbClr val="00FFB9"/>
                </a:solidFill>
                <a:ea typeface="Arial Unicode MS" panose="020B0604020202020204" pitchFamily="34" charset="-128"/>
                <a:cs typeface="Arial Unicode MS" panose="020B0604020202020204" pitchFamily="34" charset="-128"/>
              </a:rPr>
              <a:t>Those sales figures will only </a:t>
            </a:r>
            <a:br>
              <a:rPr lang="en-US" b="1">
                <a:solidFill>
                  <a:srgbClr val="00FFB9"/>
                </a:solidFill>
                <a:ea typeface="Arial Unicode MS" panose="020B0604020202020204" pitchFamily="34" charset="-128"/>
                <a:cs typeface="Arial Unicode MS" panose="020B0604020202020204" pitchFamily="34" charset="-128"/>
              </a:rPr>
            </a:br>
            <a:r>
              <a:rPr lang="en-US" b="1">
                <a:solidFill>
                  <a:srgbClr val="00FFB9"/>
                </a:solidFill>
                <a:ea typeface="Arial Unicode MS" panose="020B0604020202020204" pitchFamily="34" charset="-128"/>
                <a:cs typeface="Arial Unicode MS" panose="020B0604020202020204" pitchFamily="34" charset="-128"/>
              </a:rPr>
              <a:t>be met if sufficient infrastructure </a:t>
            </a:r>
            <a:br>
              <a:rPr lang="en-US" b="1">
                <a:solidFill>
                  <a:srgbClr val="00FFB9"/>
                </a:solidFill>
                <a:ea typeface="Arial Unicode MS" panose="020B0604020202020204" pitchFamily="34" charset="-128"/>
                <a:cs typeface="Arial Unicode MS" panose="020B0604020202020204" pitchFamily="34" charset="-128"/>
              </a:rPr>
            </a:br>
            <a:r>
              <a:rPr lang="en-US" b="1">
                <a:solidFill>
                  <a:srgbClr val="00FFB9"/>
                </a:solidFill>
                <a:ea typeface="Arial Unicode MS" panose="020B0604020202020204" pitchFamily="34" charset="-128"/>
                <a:cs typeface="Arial Unicode MS" panose="020B0604020202020204" pitchFamily="34" charset="-128"/>
              </a:rPr>
              <a:t>to power those trucks can be put </a:t>
            </a:r>
            <a:br>
              <a:rPr lang="en-US" b="1">
                <a:solidFill>
                  <a:srgbClr val="00FFB9"/>
                </a:solidFill>
                <a:ea typeface="Arial Unicode MS" panose="020B0604020202020204" pitchFamily="34" charset="-128"/>
                <a:cs typeface="Arial Unicode MS" panose="020B0604020202020204" pitchFamily="34" charset="-128"/>
              </a:rPr>
            </a:br>
            <a:r>
              <a:rPr lang="en-US" b="1">
                <a:solidFill>
                  <a:srgbClr val="00FFB9"/>
                </a:solidFill>
                <a:ea typeface="Arial Unicode MS" panose="020B0604020202020204" pitchFamily="34" charset="-128"/>
                <a:cs typeface="Arial Unicode MS" panose="020B0604020202020204" pitchFamily="34" charset="-128"/>
              </a:rPr>
              <a:t>in place by then.</a:t>
            </a:r>
          </a:p>
        </p:txBody>
      </p:sp>
      <p:cxnSp>
        <p:nvCxnSpPr>
          <p:cNvPr id="6" name="Gerader Verbinder 5">
            <a:extLst>
              <a:ext uri="{FF2B5EF4-FFF2-40B4-BE49-F238E27FC236}">
                <a16:creationId xmlns:a16="http://schemas.microsoft.com/office/drawing/2014/main" id="{8862580B-8324-65C0-BCDC-465C36D3B69B}"/>
              </a:ext>
            </a:extLst>
          </p:cNvPr>
          <p:cNvCxnSpPr>
            <a:cxnSpLocks/>
          </p:cNvCxnSpPr>
          <p:nvPr/>
        </p:nvCxnSpPr>
        <p:spPr>
          <a:xfrm>
            <a:off x="7685591" y="3827071"/>
            <a:ext cx="4101597" cy="0"/>
          </a:xfrm>
          <a:prstGeom prst="line">
            <a:avLst/>
          </a:prstGeom>
          <a:ln w="9525">
            <a:solidFill>
              <a:srgbClr val="333353"/>
            </a:solidFill>
            <a:headEnd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59397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33A49A0-1A6A-471F-8CCB-5D3B26B8B5FD}"/>
              </a:ext>
            </a:extLst>
          </p:cNvPr>
          <p:cNvGraphicFramePr>
            <a:graphicFrameLocks noChangeAspect="1"/>
          </p:cNvGraphicFramePr>
          <p:nvPr>
            <p:custDataLst>
              <p:tags r:id="rId2"/>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5" name="Objekt 4" hidden="1">
                        <a:extLst>
                          <a:ext uri="{FF2B5EF4-FFF2-40B4-BE49-F238E27FC236}">
                            <a16:creationId xmlns:a16="http://schemas.microsoft.com/office/drawing/2014/main" id="{C33A49A0-1A6A-471F-8CCB-5D3B26B8B5FD}"/>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a:t>Overhead contact lines offers the most mature technical solution</a:t>
            </a:r>
            <a:br>
              <a:rPr lang="en-US"/>
            </a:br>
            <a:r>
              <a:rPr lang="en-US"/>
              <a:t>for long-haul heavy road freight</a:t>
            </a:r>
            <a:endParaRPr lang="en-US" b="0"/>
          </a:p>
        </p:txBody>
      </p:sp>
      <p:sp>
        <p:nvSpPr>
          <p:cNvPr id="4" name="AutoShape 86"/>
          <p:cNvSpPr>
            <a:spLocks noChangeArrowheads="1"/>
          </p:cNvSpPr>
          <p:nvPr/>
        </p:nvSpPr>
        <p:spPr bwMode="gray">
          <a:xfrm>
            <a:off x="1" y="4918347"/>
            <a:ext cx="11787188" cy="600014"/>
          </a:xfrm>
          <a:prstGeom prst="homePlate">
            <a:avLst>
              <a:gd name="adj" fmla="val 27188"/>
            </a:avLst>
          </a:prstGeom>
          <a:gradFill flip="none" rotWithShape="1">
            <a:gsLst>
              <a:gs pos="885">
                <a:schemeClr val="tx2"/>
              </a:gs>
              <a:gs pos="50000">
                <a:srgbClr val="00FFB9">
                  <a:lumMod val="76000"/>
                </a:srgbClr>
              </a:gs>
              <a:gs pos="100000">
                <a:srgbClr val="00E6DC">
                  <a:lumMod val="76000"/>
                </a:srgbClr>
              </a:gs>
            </a:gsLst>
            <a:lin ang="0" scaled="0"/>
            <a:tileRect/>
          </a:gradFill>
          <a:ln w="38100">
            <a:noFill/>
            <a:miter lim="800000"/>
          </a:ln>
          <a:effectLst/>
        </p:spPr>
        <p:txBody>
          <a:bodyPr wrap="square" lIns="71963" tIns="71963" rIns="71963" bIns="71963" numCol="1" spcCol="72000" rtlCol="0" anchor="ctr" anchorCtr="0">
            <a:no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spcBef>
                <a:spcPts val="0"/>
              </a:spcBef>
            </a:pPr>
            <a:endParaRPr lang="en-US" sz="1999" kern="0">
              <a:solidFill>
                <a:srgbClr val="FFFFFF"/>
              </a:solidFill>
              <a:latin typeface="Arial"/>
            </a:endParaRPr>
          </a:p>
        </p:txBody>
      </p:sp>
      <p:sp>
        <p:nvSpPr>
          <p:cNvPr id="6" name="Rectangle 93"/>
          <p:cNvSpPr>
            <a:spLocks noChangeArrowheads="1"/>
          </p:cNvSpPr>
          <p:nvPr/>
        </p:nvSpPr>
        <p:spPr bwMode="gray">
          <a:xfrm>
            <a:off x="413642"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1</a:t>
            </a:r>
          </a:p>
        </p:txBody>
      </p:sp>
      <p:grpSp>
        <p:nvGrpSpPr>
          <p:cNvPr id="8" name="Gruppieren 7">
            <a:extLst>
              <a:ext uri="{FF2B5EF4-FFF2-40B4-BE49-F238E27FC236}">
                <a16:creationId xmlns:a16="http://schemas.microsoft.com/office/drawing/2014/main" id="{D283F7D5-020C-4595-8276-BF66E2D90CFE}"/>
              </a:ext>
            </a:extLst>
          </p:cNvPr>
          <p:cNvGrpSpPr/>
          <p:nvPr/>
        </p:nvGrpSpPr>
        <p:grpSpPr>
          <a:xfrm>
            <a:off x="9094935" y="3174732"/>
            <a:ext cx="2525564" cy="1858755"/>
            <a:chOff x="9999810" y="3039203"/>
            <a:chExt cx="2525564" cy="1858755"/>
          </a:xfrm>
        </p:grpSpPr>
        <p:sp>
          <p:nvSpPr>
            <p:cNvPr id="149" name="Rectangle 94"/>
            <p:cNvSpPr>
              <a:spLocks noChangeArrowheads="1"/>
            </p:cNvSpPr>
            <p:nvPr/>
          </p:nvSpPr>
          <p:spPr bwMode="gray">
            <a:xfrm>
              <a:off x="10143651" y="3039203"/>
              <a:ext cx="2381723" cy="1304973"/>
            </a:xfrm>
            <a:prstGeom prst="rect">
              <a:avLst/>
            </a:prstGeom>
            <a:noFill/>
            <a:ln>
              <a:noFill/>
            </a:ln>
            <a:effectLst/>
          </p:spPr>
          <p:txBody>
            <a:bodyPr wrap="square" lIns="72000" tIns="0" rIns="0" bIns="0" anchor="t">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ct val="5000"/>
                </a:spcBef>
              </a:pPr>
              <a:r>
                <a:rPr lang="en-US" sz="2000" b="1">
                  <a:solidFill>
                    <a:srgbClr val="CCCCD4"/>
                  </a:solidFill>
                  <a:latin typeface="+mn-lt"/>
                  <a:cs typeface="+mn-cs"/>
                </a:rPr>
                <a:t>FCEV</a:t>
              </a:r>
            </a:p>
            <a:p>
              <a:pPr algn="l">
                <a:spcBef>
                  <a:spcPct val="5000"/>
                </a:spcBef>
              </a:pPr>
              <a:r>
                <a:rPr lang="en-US" sz="1600" b="1">
                  <a:solidFill>
                    <a:srgbClr val="CCCCD4"/>
                  </a:solidFill>
                  <a:latin typeface="+mn-lt"/>
                  <a:cs typeface="+mn-cs"/>
                </a:rPr>
                <a:t>Fuel cell Electric Vehicle</a:t>
              </a:r>
              <a:br>
                <a:rPr lang="en-US" sz="1600" b="1">
                  <a:solidFill>
                    <a:srgbClr val="CCCCD4"/>
                  </a:solidFill>
                  <a:latin typeface="+mn-lt"/>
                  <a:cs typeface="+mn-cs"/>
                </a:rPr>
              </a:br>
              <a:r>
                <a:rPr lang="en-US" sz="1600">
                  <a:solidFill>
                    <a:srgbClr val="CCCCD4"/>
                  </a:solidFill>
                  <a:latin typeface="+mn-lt"/>
                  <a:cs typeface="+mn-cs"/>
                </a:rPr>
                <a:t>Announcement for start </a:t>
              </a:r>
              <a:br>
                <a:rPr lang="en-US" sz="1600">
                  <a:solidFill>
                    <a:srgbClr val="CCCCD4"/>
                  </a:solidFill>
                  <a:latin typeface="+mn-lt"/>
                  <a:cs typeface="+mn-cs"/>
                </a:rPr>
              </a:br>
              <a:r>
                <a:rPr lang="en-US" sz="1600">
                  <a:solidFill>
                    <a:srgbClr val="CCCCD4"/>
                  </a:solidFill>
                  <a:latin typeface="+mn-lt"/>
                  <a:cs typeface="+mn-cs"/>
                </a:rPr>
                <a:t>of serial production</a:t>
              </a:r>
            </a:p>
          </p:txBody>
        </p:sp>
        <p:grpSp>
          <p:nvGrpSpPr>
            <p:cNvPr id="7" name="Gruppieren 6">
              <a:extLst>
                <a:ext uri="{FF2B5EF4-FFF2-40B4-BE49-F238E27FC236}">
                  <a16:creationId xmlns:a16="http://schemas.microsoft.com/office/drawing/2014/main" id="{F787E4C2-5C6A-47F3-82D5-7BFD1C18CCDD}"/>
                </a:ext>
              </a:extLst>
            </p:cNvPr>
            <p:cNvGrpSpPr>
              <a:grpSpLocks/>
            </p:cNvGrpSpPr>
            <p:nvPr/>
          </p:nvGrpSpPr>
          <p:grpSpPr>
            <a:xfrm>
              <a:off x="9999810" y="3039203"/>
              <a:ext cx="287684" cy="1858755"/>
              <a:chOff x="9999810" y="3039203"/>
              <a:chExt cx="287684" cy="1858755"/>
            </a:xfrm>
          </p:grpSpPr>
          <p:sp>
            <p:nvSpPr>
              <p:cNvPr id="152" name="Ellipse 151"/>
              <p:cNvSpPr/>
              <p:nvPr/>
            </p:nvSpPr>
            <p:spPr bwMode="gray">
              <a:xfrm>
                <a:off x="9999810" y="4610274"/>
                <a:ext cx="287684" cy="287684"/>
              </a:xfrm>
              <a:prstGeom prst="ellipse">
                <a:avLst/>
              </a:prstGeom>
              <a:solidFill>
                <a:srgbClr val="000028"/>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a:solidFill>
                    <a:srgbClr val="CCCCD4"/>
                  </a:solidFill>
                  <a:latin typeface="+mn-lt"/>
                </a:endParaRPr>
              </a:p>
            </p:txBody>
          </p:sp>
          <p:sp>
            <p:nvSpPr>
              <p:cNvPr id="151" name="Line 88"/>
              <p:cNvSpPr>
                <a:spLocks noChangeShapeType="1"/>
              </p:cNvSpPr>
              <p:nvPr/>
            </p:nvSpPr>
            <p:spPr bwMode="gray">
              <a:xfrm>
                <a:off x="10143652" y="3039203"/>
                <a:ext cx="0" cy="1714913"/>
              </a:xfrm>
              <a:prstGeom prst="line">
                <a:avLst/>
              </a:prstGeom>
              <a:noFill/>
              <a:ln w="19050">
                <a:solidFill>
                  <a:srgbClr val="66667E"/>
                </a:solidFill>
                <a:round/>
                <a:headEnd type="none" w="med" len="med"/>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a:solidFill>
                    <a:srgbClr val="CCCCD4"/>
                  </a:solidFill>
                  <a:latin typeface="+mn-lt"/>
                </a:endParaRPr>
              </a:p>
            </p:txBody>
          </p:sp>
        </p:grpSp>
      </p:grpSp>
      <p:sp>
        <p:nvSpPr>
          <p:cNvPr id="105" name="Rechteck 4">
            <a:extLst>
              <a:ext uri="{FF2B5EF4-FFF2-40B4-BE49-F238E27FC236}">
                <a16:creationId xmlns:a16="http://schemas.microsoft.com/office/drawing/2014/main" id="{AD7B86F5-3FAC-67D8-6474-58932002C6A5}"/>
              </a:ext>
            </a:extLst>
          </p:cNvPr>
          <p:cNvSpPr/>
          <p:nvPr/>
        </p:nvSpPr>
        <p:spPr bwMode="gray">
          <a:xfrm>
            <a:off x="402780" y="1381002"/>
            <a:ext cx="7215630" cy="861774"/>
          </a:xfrm>
          <a:prstGeom prst="rect">
            <a:avLst/>
          </a:prstGeom>
        </p:spPr>
        <p:txBody>
          <a:bodyPr wrap="none" lIns="0" tIns="0" rIns="0" bIns="0">
            <a:spAutoFit/>
          </a:bodyPr>
          <a:lstStyle/>
          <a:p>
            <a:pPr fontAlgn="base">
              <a:spcBef>
                <a:spcPts val="300"/>
              </a:spcBef>
              <a:spcAft>
                <a:spcPct val="0"/>
              </a:spcAft>
              <a:buClr>
                <a:srgbClr val="879BAA"/>
              </a:buClr>
              <a:defRPr/>
            </a:pPr>
            <a:r>
              <a:rPr lang="en-US" sz="3600">
                <a:gradFill>
                  <a:gsLst>
                    <a:gs pos="0">
                      <a:srgbClr val="00FFB9"/>
                    </a:gs>
                    <a:gs pos="100000">
                      <a:srgbClr val="00E6DC"/>
                    </a:gs>
                  </a:gsLst>
                  <a:lin ang="0" scaled="0"/>
                </a:gradFill>
              </a:rPr>
              <a:t>Time to market for each technology</a:t>
            </a:r>
            <a:br>
              <a:rPr lang="en-US" sz="4800">
                <a:gradFill>
                  <a:gsLst>
                    <a:gs pos="0">
                      <a:srgbClr val="00FFB9"/>
                    </a:gs>
                    <a:gs pos="100000">
                      <a:srgbClr val="00E6DC"/>
                    </a:gs>
                  </a:gsLst>
                  <a:lin ang="0" scaled="0"/>
                </a:gradFill>
              </a:rPr>
            </a:br>
            <a:r>
              <a:rPr lang="en-US" sz="2000" b="1">
                <a:solidFill>
                  <a:srgbClr val="CCCCD4"/>
                </a:solidFill>
              </a:rPr>
              <a:t>in long-haul trucking</a:t>
            </a:r>
          </a:p>
        </p:txBody>
      </p:sp>
      <p:sp>
        <p:nvSpPr>
          <p:cNvPr id="45" name="Rectangle 93">
            <a:extLst>
              <a:ext uri="{FF2B5EF4-FFF2-40B4-BE49-F238E27FC236}">
                <a16:creationId xmlns:a16="http://schemas.microsoft.com/office/drawing/2014/main" id="{1261D17B-3AFD-EBAF-0E90-4DBE0EE06E86}"/>
              </a:ext>
            </a:extLst>
          </p:cNvPr>
          <p:cNvSpPr>
            <a:spLocks noChangeArrowheads="1"/>
          </p:cNvSpPr>
          <p:nvPr/>
        </p:nvSpPr>
        <p:spPr bwMode="gray">
          <a:xfrm>
            <a:off x="1842877"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2</a:t>
            </a:r>
          </a:p>
        </p:txBody>
      </p:sp>
      <p:sp>
        <p:nvSpPr>
          <p:cNvPr id="46" name="Rectangle 93">
            <a:extLst>
              <a:ext uri="{FF2B5EF4-FFF2-40B4-BE49-F238E27FC236}">
                <a16:creationId xmlns:a16="http://schemas.microsoft.com/office/drawing/2014/main" id="{C1033630-5837-4E7A-5665-DDEFC686434E}"/>
              </a:ext>
            </a:extLst>
          </p:cNvPr>
          <p:cNvSpPr>
            <a:spLocks noChangeArrowheads="1"/>
          </p:cNvSpPr>
          <p:nvPr/>
        </p:nvSpPr>
        <p:spPr bwMode="gray">
          <a:xfrm>
            <a:off x="3272114"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3</a:t>
            </a:r>
          </a:p>
        </p:txBody>
      </p:sp>
      <p:sp>
        <p:nvSpPr>
          <p:cNvPr id="47" name="Rectangle 93">
            <a:extLst>
              <a:ext uri="{FF2B5EF4-FFF2-40B4-BE49-F238E27FC236}">
                <a16:creationId xmlns:a16="http://schemas.microsoft.com/office/drawing/2014/main" id="{8C2ACECD-F625-5767-7245-42E06AA4E9A7}"/>
              </a:ext>
            </a:extLst>
          </p:cNvPr>
          <p:cNvSpPr>
            <a:spLocks noChangeArrowheads="1"/>
          </p:cNvSpPr>
          <p:nvPr/>
        </p:nvSpPr>
        <p:spPr bwMode="gray">
          <a:xfrm>
            <a:off x="4701351"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4</a:t>
            </a:r>
          </a:p>
        </p:txBody>
      </p:sp>
      <p:sp>
        <p:nvSpPr>
          <p:cNvPr id="48" name="Rectangle 93">
            <a:extLst>
              <a:ext uri="{FF2B5EF4-FFF2-40B4-BE49-F238E27FC236}">
                <a16:creationId xmlns:a16="http://schemas.microsoft.com/office/drawing/2014/main" id="{3849C3CC-808B-254F-3D03-FE915CF2097F}"/>
              </a:ext>
            </a:extLst>
          </p:cNvPr>
          <p:cNvSpPr>
            <a:spLocks noChangeArrowheads="1"/>
          </p:cNvSpPr>
          <p:nvPr/>
        </p:nvSpPr>
        <p:spPr bwMode="gray">
          <a:xfrm>
            <a:off x="6130589"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5</a:t>
            </a:r>
          </a:p>
        </p:txBody>
      </p:sp>
      <p:sp>
        <p:nvSpPr>
          <p:cNvPr id="49" name="Rectangle 93">
            <a:extLst>
              <a:ext uri="{FF2B5EF4-FFF2-40B4-BE49-F238E27FC236}">
                <a16:creationId xmlns:a16="http://schemas.microsoft.com/office/drawing/2014/main" id="{AD21FDF2-252F-1D31-8F1B-499D9A46EA18}"/>
              </a:ext>
            </a:extLst>
          </p:cNvPr>
          <p:cNvSpPr>
            <a:spLocks noChangeArrowheads="1"/>
          </p:cNvSpPr>
          <p:nvPr/>
        </p:nvSpPr>
        <p:spPr bwMode="gray">
          <a:xfrm>
            <a:off x="7559826"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6</a:t>
            </a:r>
          </a:p>
        </p:txBody>
      </p:sp>
      <p:sp>
        <p:nvSpPr>
          <p:cNvPr id="50" name="Rectangle 93">
            <a:extLst>
              <a:ext uri="{FF2B5EF4-FFF2-40B4-BE49-F238E27FC236}">
                <a16:creationId xmlns:a16="http://schemas.microsoft.com/office/drawing/2014/main" id="{0E714EAB-6B59-B595-500D-E24D4709025B}"/>
              </a:ext>
            </a:extLst>
          </p:cNvPr>
          <p:cNvSpPr>
            <a:spLocks noChangeArrowheads="1"/>
          </p:cNvSpPr>
          <p:nvPr/>
        </p:nvSpPr>
        <p:spPr bwMode="gray">
          <a:xfrm>
            <a:off x="8989063" y="5169858"/>
            <a:ext cx="1285237" cy="246221"/>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ts val="0"/>
              </a:spcBef>
            </a:pPr>
            <a:r>
              <a:rPr lang="en-US" sz="1600">
                <a:solidFill>
                  <a:schemeClr val="bg1"/>
                </a:solidFill>
                <a:latin typeface="+mn-lt"/>
              </a:rPr>
              <a:t>2027</a:t>
            </a:r>
          </a:p>
        </p:txBody>
      </p:sp>
      <p:grpSp>
        <p:nvGrpSpPr>
          <p:cNvPr id="37" name="Gruppieren 36">
            <a:extLst>
              <a:ext uri="{FF2B5EF4-FFF2-40B4-BE49-F238E27FC236}">
                <a16:creationId xmlns:a16="http://schemas.microsoft.com/office/drawing/2014/main" id="{E6B9734B-8DFB-483E-A0F3-28D1EB80BD99}"/>
              </a:ext>
            </a:extLst>
          </p:cNvPr>
          <p:cNvGrpSpPr/>
          <p:nvPr/>
        </p:nvGrpSpPr>
        <p:grpSpPr>
          <a:xfrm>
            <a:off x="4833218" y="3174732"/>
            <a:ext cx="3243982" cy="1858755"/>
            <a:chOff x="9999810" y="3039203"/>
            <a:chExt cx="3243982" cy="1858755"/>
          </a:xfrm>
        </p:grpSpPr>
        <p:sp>
          <p:nvSpPr>
            <p:cNvPr id="38" name="Rectangle 94">
              <a:extLst>
                <a:ext uri="{FF2B5EF4-FFF2-40B4-BE49-F238E27FC236}">
                  <a16:creationId xmlns:a16="http://schemas.microsoft.com/office/drawing/2014/main" id="{2B3BB217-2DEE-49E4-B092-3BC16245E298}"/>
                </a:ext>
              </a:extLst>
            </p:cNvPr>
            <p:cNvSpPr>
              <a:spLocks noChangeArrowheads="1"/>
            </p:cNvSpPr>
            <p:nvPr/>
          </p:nvSpPr>
          <p:spPr bwMode="gray">
            <a:xfrm>
              <a:off x="10143651" y="3039203"/>
              <a:ext cx="3100141" cy="1058751"/>
            </a:xfrm>
            <a:prstGeom prst="rect">
              <a:avLst/>
            </a:prstGeom>
            <a:noFill/>
            <a:ln>
              <a:noFill/>
            </a:ln>
            <a:effectLst/>
          </p:spPr>
          <p:txBody>
            <a:bodyPr wrap="square" lIns="72000" tIns="0" rIns="0" bIns="0" anchor="t">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ct val="5000"/>
                </a:spcBef>
              </a:pPr>
              <a:r>
                <a:rPr lang="en-US" sz="2000" b="1">
                  <a:solidFill>
                    <a:srgbClr val="CCCCD4"/>
                  </a:solidFill>
                  <a:latin typeface="+mn-lt"/>
                  <a:cs typeface="+mn-cs"/>
                </a:rPr>
                <a:t>BEV</a:t>
              </a:r>
            </a:p>
            <a:p>
              <a:pPr algn="l">
                <a:spcBef>
                  <a:spcPct val="5000"/>
                </a:spcBef>
              </a:pPr>
              <a:r>
                <a:rPr lang="en-US" sz="1600" b="1">
                  <a:solidFill>
                    <a:srgbClr val="CCCCD4"/>
                  </a:solidFill>
                  <a:latin typeface="+mn-lt"/>
                  <a:cs typeface="+mn-cs"/>
                </a:rPr>
                <a:t>Battery Electric Vehicle</a:t>
              </a:r>
              <a:br>
                <a:rPr lang="en-US" sz="1600" b="1">
                  <a:solidFill>
                    <a:srgbClr val="CCCCD4"/>
                  </a:solidFill>
                  <a:latin typeface="+mn-lt"/>
                  <a:cs typeface="+mn-cs"/>
                </a:rPr>
              </a:br>
              <a:r>
                <a:rPr lang="en-US" sz="1600">
                  <a:solidFill>
                    <a:srgbClr val="CCCCD4"/>
                  </a:solidFill>
                  <a:latin typeface="+mn-lt"/>
                  <a:cs typeface="+mn-cs"/>
                </a:rPr>
                <a:t>Standardization of Megawatt charger planned to be completed</a:t>
              </a:r>
            </a:p>
          </p:txBody>
        </p:sp>
        <p:grpSp>
          <p:nvGrpSpPr>
            <p:cNvPr id="39" name="Gruppieren 38">
              <a:extLst>
                <a:ext uri="{FF2B5EF4-FFF2-40B4-BE49-F238E27FC236}">
                  <a16:creationId xmlns:a16="http://schemas.microsoft.com/office/drawing/2014/main" id="{30119BB8-5F20-48F2-B740-C7EA36C43904}"/>
                </a:ext>
              </a:extLst>
            </p:cNvPr>
            <p:cNvGrpSpPr>
              <a:grpSpLocks/>
            </p:cNvGrpSpPr>
            <p:nvPr/>
          </p:nvGrpSpPr>
          <p:grpSpPr>
            <a:xfrm>
              <a:off x="9999810" y="3039203"/>
              <a:ext cx="287684" cy="1858755"/>
              <a:chOff x="9999810" y="3039203"/>
              <a:chExt cx="287684" cy="1858755"/>
            </a:xfrm>
          </p:grpSpPr>
          <p:sp>
            <p:nvSpPr>
              <p:cNvPr id="40" name="Ellipse 39">
                <a:extLst>
                  <a:ext uri="{FF2B5EF4-FFF2-40B4-BE49-F238E27FC236}">
                    <a16:creationId xmlns:a16="http://schemas.microsoft.com/office/drawing/2014/main" id="{4DA57C50-B753-4A9E-8E57-F275A0BF5D02}"/>
                  </a:ext>
                </a:extLst>
              </p:cNvPr>
              <p:cNvSpPr/>
              <p:nvPr/>
            </p:nvSpPr>
            <p:spPr bwMode="gray">
              <a:xfrm>
                <a:off x="9999810" y="4610274"/>
                <a:ext cx="287684" cy="287684"/>
              </a:xfrm>
              <a:prstGeom prst="ellipse">
                <a:avLst/>
              </a:prstGeom>
              <a:solidFill>
                <a:srgbClr val="000028"/>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a:solidFill>
                    <a:srgbClr val="CCCCD4"/>
                  </a:solidFill>
                  <a:latin typeface="+mn-lt"/>
                </a:endParaRPr>
              </a:p>
            </p:txBody>
          </p:sp>
          <p:sp>
            <p:nvSpPr>
              <p:cNvPr id="41" name="Line 88">
                <a:extLst>
                  <a:ext uri="{FF2B5EF4-FFF2-40B4-BE49-F238E27FC236}">
                    <a16:creationId xmlns:a16="http://schemas.microsoft.com/office/drawing/2014/main" id="{52C712B1-3855-4547-8484-27E2CBC0E224}"/>
                  </a:ext>
                </a:extLst>
              </p:cNvPr>
              <p:cNvSpPr>
                <a:spLocks noChangeShapeType="1"/>
              </p:cNvSpPr>
              <p:nvPr/>
            </p:nvSpPr>
            <p:spPr bwMode="gray">
              <a:xfrm>
                <a:off x="10143652" y="3039203"/>
                <a:ext cx="0" cy="1714913"/>
              </a:xfrm>
              <a:prstGeom prst="line">
                <a:avLst/>
              </a:prstGeom>
              <a:noFill/>
              <a:ln w="19050">
                <a:solidFill>
                  <a:srgbClr val="66667E"/>
                </a:solidFill>
                <a:round/>
                <a:headEnd type="none" w="med" len="med"/>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a:solidFill>
                    <a:srgbClr val="CCCCD4"/>
                  </a:solidFill>
                  <a:latin typeface="+mn-lt"/>
                </a:endParaRPr>
              </a:p>
            </p:txBody>
          </p:sp>
        </p:grpSp>
      </p:grpSp>
      <p:grpSp>
        <p:nvGrpSpPr>
          <p:cNvPr id="42" name="Gruppieren 41">
            <a:extLst>
              <a:ext uri="{FF2B5EF4-FFF2-40B4-BE49-F238E27FC236}">
                <a16:creationId xmlns:a16="http://schemas.microsoft.com/office/drawing/2014/main" id="{FA451F27-6020-4BE9-9DC0-2822740A399B}"/>
              </a:ext>
            </a:extLst>
          </p:cNvPr>
          <p:cNvGrpSpPr/>
          <p:nvPr/>
        </p:nvGrpSpPr>
        <p:grpSpPr>
          <a:xfrm>
            <a:off x="1978835" y="3174732"/>
            <a:ext cx="2459816" cy="1858755"/>
            <a:chOff x="9999810" y="3039203"/>
            <a:chExt cx="2459816" cy="1858755"/>
          </a:xfrm>
        </p:grpSpPr>
        <p:sp>
          <p:nvSpPr>
            <p:cNvPr id="43" name="Rectangle 94">
              <a:extLst>
                <a:ext uri="{FF2B5EF4-FFF2-40B4-BE49-F238E27FC236}">
                  <a16:creationId xmlns:a16="http://schemas.microsoft.com/office/drawing/2014/main" id="{CE5EA55C-7799-414B-94E9-63B5B4917262}"/>
                </a:ext>
              </a:extLst>
            </p:cNvPr>
            <p:cNvSpPr>
              <a:spLocks noChangeArrowheads="1"/>
            </p:cNvSpPr>
            <p:nvPr/>
          </p:nvSpPr>
          <p:spPr bwMode="gray">
            <a:xfrm>
              <a:off x="10143652" y="3039203"/>
              <a:ext cx="2315974" cy="1058751"/>
            </a:xfrm>
            <a:prstGeom prst="rect">
              <a:avLst/>
            </a:prstGeom>
            <a:noFill/>
            <a:ln>
              <a:noFill/>
            </a:ln>
            <a:effectLst/>
          </p:spPr>
          <p:txBody>
            <a:bodyPr wrap="square" lIns="72000" tIns="0" rIns="0" bIns="0" anchor="t">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ct val="5000"/>
                </a:spcBef>
              </a:pPr>
              <a:r>
                <a:rPr lang="en-US" sz="2000" b="1">
                  <a:solidFill>
                    <a:srgbClr val="CCCCD4"/>
                  </a:solidFill>
                  <a:latin typeface="+mn-lt"/>
                  <a:cs typeface="+mn-cs"/>
                </a:rPr>
                <a:t>RF</a:t>
              </a:r>
            </a:p>
            <a:p>
              <a:pPr algn="l">
                <a:spcBef>
                  <a:spcPct val="5000"/>
                </a:spcBef>
              </a:pPr>
              <a:r>
                <a:rPr lang="en-US" sz="1600" b="1">
                  <a:solidFill>
                    <a:srgbClr val="CCCCD4"/>
                  </a:solidFill>
                  <a:latin typeface="+mn-lt"/>
                  <a:cs typeface="+mn-cs"/>
                </a:rPr>
                <a:t>Renewable Fuel</a:t>
              </a:r>
              <a:br>
                <a:rPr lang="en-US" sz="1600" b="1">
                  <a:solidFill>
                    <a:srgbClr val="CCCCD4"/>
                  </a:solidFill>
                  <a:latin typeface="+mn-lt"/>
                  <a:cs typeface="+mn-cs"/>
                </a:rPr>
              </a:br>
              <a:r>
                <a:rPr lang="en-US" sz="1600">
                  <a:solidFill>
                    <a:srgbClr val="CCCCD4"/>
                  </a:solidFill>
                  <a:latin typeface="+mn-lt"/>
                  <a:cs typeface="+mn-cs"/>
                </a:rPr>
                <a:t>Initial </a:t>
              </a:r>
              <a:r>
                <a:rPr lang="en-US" sz="1600" err="1">
                  <a:solidFill>
                    <a:srgbClr val="CCCCD4"/>
                  </a:solidFill>
                  <a:latin typeface="+mn-lt"/>
                  <a:cs typeface="+mn-cs"/>
                </a:rPr>
                <a:t>efuel</a:t>
              </a:r>
              <a:r>
                <a:rPr lang="en-US" sz="1600">
                  <a:solidFill>
                    <a:srgbClr val="CCCCD4"/>
                  </a:solidFill>
                  <a:latin typeface="+mn-lt"/>
                  <a:cs typeface="+mn-cs"/>
                </a:rPr>
                <a:t> production facility in operation</a:t>
              </a:r>
            </a:p>
          </p:txBody>
        </p:sp>
        <p:grpSp>
          <p:nvGrpSpPr>
            <p:cNvPr id="44" name="Gruppieren 43">
              <a:extLst>
                <a:ext uri="{FF2B5EF4-FFF2-40B4-BE49-F238E27FC236}">
                  <a16:creationId xmlns:a16="http://schemas.microsoft.com/office/drawing/2014/main" id="{C3A12E6F-A9DF-41B6-8761-1AC6B90FC7ED}"/>
                </a:ext>
              </a:extLst>
            </p:cNvPr>
            <p:cNvGrpSpPr>
              <a:grpSpLocks/>
            </p:cNvGrpSpPr>
            <p:nvPr/>
          </p:nvGrpSpPr>
          <p:grpSpPr>
            <a:xfrm>
              <a:off x="9999810" y="3039203"/>
              <a:ext cx="287684" cy="1858755"/>
              <a:chOff x="9999810" y="3039203"/>
              <a:chExt cx="287684" cy="1858755"/>
            </a:xfrm>
          </p:grpSpPr>
          <p:sp>
            <p:nvSpPr>
              <p:cNvPr id="51" name="Ellipse 50">
                <a:extLst>
                  <a:ext uri="{FF2B5EF4-FFF2-40B4-BE49-F238E27FC236}">
                    <a16:creationId xmlns:a16="http://schemas.microsoft.com/office/drawing/2014/main" id="{812A0617-961C-4051-A09E-55D7FF263769}"/>
                  </a:ext>
                </a:extLst>
              </p:cNvPr>
              <p:cNvSpPr/>
              <p:nvPr/>
            </p:nvSpPr>
            <p:spPr bwMode="gray">
              <a:xfrm>
                <a:off x="9999810" y="4610274"/>
                <a:ext cx="287684" cy="287684"/>
              </a:xfrm>
              <a:prstGeom prst="ellipse">
                <a:avLst/>
              </a:prstGeom>
              <a:solidFill>
                <a:srgbClr val="000028"/>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a:solidFill>
                    <a:srgbClr val="CCCCD4"/>
                  </a:solidFill>
                  <a:latin typeface="+mn-lt"/>
                </a:endParaRPr>
              </a:p>
            </p:txBody>
          </p:sp>
          <p:sp>
            <p:nvSpPr>
              <p:cNvPr id="52" name="Line 88">
                <a:extLst>
                  <a:ext uri="{FF2B5EF4-FFF2-40B4-BE49-F238E27FC236}">
                    <a16:creationId xmlns:a16="http://schemas.microsoft.com/office/drawing/2014/main" id="{E23DB2BA-6356-4899-B487-74C8B6834782}"/>
                  </a:ext>
                </a:extLst>
              </p:cNvPr>
              <p:cNvSpPr>
                <a:spLocks noChangeShapeType="1"/>
              </p:cNvSpPr>
              <p:nvPr/>
            </p:nvSpPr>
            <p:spPr bwMode="gray">
              <a:xfrm>
                <a:off x="10143652" y="3039203"/>
                <a:ext cx="0" cy="1714913"/>
              </a:xfrm>
              <a:prstGeom prst="line">
                <a:avLst/>
              </a:prstGeom>
              <a:noFill/>
              <a:ln w="19050">
                <a:solidFill>
                  <a:srgbClr val="66667E"/>
                </a:solidFill>
                <a:round/>
                <a:headEnd type="none" w="med" len="med"/>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a:solidFill>
                    <a:srgbClr val="CCCCD4"/>
                  </a:solidFill>
                  <a:latin typeface="+mn-lt"/>
                </a:endParaRPr>
              </a:p>
            </p:txBody>
          </p:sp>
        </p:grpSp>
      </p:grpSp>
      <p:grpSp>
        <p:nvGrpSpPr>
          <p:cNvPr id="53" name="Gruppieren 52">
            <a:extLst>
              <a:ext uri="{FF2B5EF4-FFF2-40B4-BE49-F238E27FC236}">
                <a16:creationId xmlns:a16="http://schemas.microsoft.com/office/drawing/2014/main" id="{43EB9AE5-9128-4EAF-A10C-5A96755B582F}"/>
              </a:ext>
            </a:extLst>
          </p:cNvPr>
          <p:cNvGrpSpPr/>
          <p:nvPr/>
        </p:nvGrpSpPr>
        <p:grpSpPr>
          <a:xfrm>
            <a:off x="476648" y="3174732"/>
            <a:ext cx="1502187" cy="1858755"/>
            <a:chOff x="9999810" y="3039203"/>
            <a:chExt cx="1502187" cy="1858755"/>
          </a:xfrm>
        </p:grpSpPr>
        <p:sp>
          <p:nvSpPr>
            <p:cNvPr id="54" name="Rectangle 94">
              <a:extLst>
                <a:ext uri="{FF2B5EF4-FFF2-40B4-BE49-F238E27FC236}">
                  <a16:creationId xmlns:a16="http://schemas.microsoft.com/office/drawing/2014/main" id="{D79A18F2-490C-450B-A927-74CBBF63CB77}"/>
                </a:ext>
              </a:extLst>
            </p:cNvPr>
            <p:cNvSpPr>
              <a:spLocks noChangeArrowheads="1"/>
            </p:cNvSpPr>
            <p:nvPr/>
          </p:nvSpPr>
          <p:spPr bwMode="gray">
            <a:xfrm>
              <a:off x="10143652" y="3039203"/>
              <a:ext cx="1358345" cy="1304973"/>
            </a:xfrm>
            <a:prstGeom prst="rect">
              <a:avLst/>
            </a:prstGeom>
            <a:noFill/>
            <a:ln>
              <a:noFill/>
            </a:ln>
            <a:effectLst/>
          </p:spPr>
          <p:txBody>
            <a:bodyPr wrap="square" lIns="72000" tIns="0" rIns="0" bIns="0" anchor="t">
              <a:spAutoFit/>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spcBef>
                  <a:spcPct val="5000"/>
                </a:spcBef>
              </a:pPr>
              <a:r>
                <a:rPr lang="en-US" sz="2000" b="1">
                  <a:solidFill>
                    <a:srgbClr val="CCCCD4"/>
                  </a:solidFill>
                  <a:latin typeface="+mn-lt"/>
                  <a:cs typeface="+mn-cs"/>
                </a:rPr>
                <a:t>OCL</a:t>
              </a:r>
            </a:p>
            <a:p>
              <a:pPr algn="l">
                <a:spcBef>
                  <a:spcPct val="5000"/>
                </a:spcBef>
              </a:pPr>
              <a:r>
                <a:rPr lang="en-US" sz="1600" b="1">
                  <a:solidFill>
                    <a:srgbClr val="CCCCD4"/>
                  </a:solidFill>
                  <a:latin typeface="+mn-lt"/>
                  <a:cs typeface="+mn-cs"/>
                </a:rPr>
                <a:t>Overhead Contact Line</a:t>
              </a:r>
              <a:br>
                <a:rPr lang="en-US" sz="1600" b="1">
                  <a:solidFill>
                    <a:srgbClr val="CCCCD4"/>
                  </a:solidFill>
                  <a:latin typeface="+mn-lt"/>
                  <a:cs typeface="+mn-cs"/>
                </a:rPr>
              </a:br>
              <a:r>
                <a:rPr lang="en-US" sz="1600">
                  <a:solidFill>
                    <a:srgbClr val="CCCCD4"/>
                  </a:solidFill>
                  <a:latin typeface="+mn-lt"/>
                  <a:cs typeface="+mn-cs"/>
                </a:rPr>
                <a:t>Ready </a:t>
              </a:r>
              <a:br>
                <a:rPr lang="en-US" sz="1600">
                  <a:solidFill>
                    <a:srgbClr val="CCCCD4"/>
                  </a:solidFill>
                  <a:latin typeface="+mn-lt"/>
                  <a:cs typeface="+mn-cs"/>
                </a:rPr>
              </a:br>
              <a:r>
                <a:rPr lang="en-US" sz="1600">
                  <a:solidFill>
                    <a:srgbClr val="CCCCD4"/>
                  </a:solidFill>
                  <a:latin typeface="+mn-lt"/>
                  <a:cs typeface="+mn-cs"/>
                </a:rPr>
                <a:t>for roll-out</a:t>
              </a:r>
            </a:p>
          </p:txBody>
        </p:sp>
        <p:grpSp>
          <p:nvGrpSpPr>
            <p:cNvPr id="55" name="Gruppieren 54">
              <a:extLst>
                <a:ext uri="{FF2B5EF4-FFF2-40B4-BE49-F238E27FC236}">
                  <a16:creationId xmlns:a16="http://schemas.microsoft.com/office/drawing/2014/main" id="{93FC61B0-5658-4927-B748-8EEC203E5276}"/>
                </a:ext>
              </a:extLst>
            </p:cNvPr>
            <p:cNvGrpSpPr>
              <a:grpSpLocks/>
            </p:cNvGrpSpPr>
            <p:nvPr/>
          </p:nvGrpSpPr>
          <p:grpSpPr>
            <a:xfrm>
              <a:off x="9999810" y="3039203"/>
              <a:ext cx="287684" cy="1858755"/>
              <a:chOff x="9999810" y="3039203"/>
              <a:chExt cx="287684" cy="1858755"/>
            </a:xfrm>
          </p:grpSpPr>
          <p:sp>
            <p:nvSpPr>
              <p:cNvPr id="57" name="Ellipse 56">
                <a:extLst>
                  <a:ext uri="{FF2B5EF4-FFF2-40B4-BE49-F238E27FC236}">
                    <a16:creationId xmlns:a16="http://schemas.microsoft.com/office/drawing/2014/main" id="{EA09530E-6DF5-4C50-A35E-14291FF5E059}"/>
                  </a:ext>
                </a:extLst>
              </p:cNvPr>
              <p:cNvSpPr/>
              <p:nvPr/>
            </p:nvSpPr>
            <p:spPr bwMode="gray">
              <a:xfrm>
                <a:off x="9999810" y="4610274"/>
                <a:ext cx="287684" cy="287684"/>
              </a:xfrm>
              <a:prstGeom prst="ellipse">
                <a:avLst/>
              </a:prstGeom>
              <a:solidFill>
                <a:srgbClr val="000028"/>
              </a:solidFill>
              <a:ln w="12700" cap="flat" cmpd="sng" algn="ctr">
                <a:noFill/>
                <a:prstDash val="solid"/>
                <a:round/>
                <a:headEnd type="none" w="med" len="med"/>
                <a:tailEnd type="none" w="med" len="med"/>
              </a:ln>
              <a:effectLst/>
            </p:spPr>
            <p:txBody>
              <a:bodyPr vert="horz" wrap="none" lIns="89953" tIns="46776" rIns="89953" bIns="46776" numCol="1" rtlCol="0" anchor="ctr" anchorCtr="0" compatLnSpc="1">
                <a:prstTxWarp prst="textNoShape">
                  <a:avLst/>
                </a:prstTxWarp>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943"/>
                <a:endParaRPr lang="en-US" sz="1599">
                  <a:solidFill>
                    <a:srgbClr val="CCCCD4"/>
                  </a:solidFill>
                  <a:latin typeface="+mn-lt"/>
                </a:endParaRPr>
              </a:p>
            </p:txBody>
          </p:sp>
          <p:sp>
            <p:nvSpPr>
              <p:cNvPr id="58" name="Line 88">
                <a:extLst>
                  <a:ext uri="{FF2B5EF4-FFF2-40B4-BE49-F238E27FC236}">
                    <a16:creationId xmlns:a16="http://schemas.microsoft.com/office/drawing/2014/main" id="{F02F2850-F3F2-468B-8D2D-0C2518924CE4}"/>
                  </a:ext>
                </a:extLst>
              </p:cNvPr>
              <p:cNvSpPr>
                <a:spLocks noChangeShapeType="1"/>
              </p:cNvSpPr>
              <p:nvPr/>
            </p:nvSpPr>
            <p:spPr bwMode="gray">
              <a:xfrm>
                <a:off x="10143652" y="3039203"/>
                <a:ext cx="0" cy="1714913"/>
              </a:xfrm>
              <a:prstGeom prst="line">
                <a:avLst/>
              </a:prstGeom>
              <a:noFill/>
              <a:ln w="19050">
                <a:solidFill>
                  <a:srgbClr val="66667E"/>
                </a:solidFill>
                <a:round/>
                <a:headEnd type="none" w="med" len="med"/>
                <a:tailEnd type="oval"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9953" tIns="46776" rIns="89953" bIns="46776" anchor="ct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a:endParaRPr lang="en-US" sz="1799">
                  <a:solidFill>
                    <a:srgbClr val="CCCCD4"/>
                  </a:solidFill>
                  <a:latin typeface="+mn-lt"/>
                </a:endParaRPr>
              </a:p>
            </p:txBody>
          </p:sp>
        </p:grpSp>
      </p:grpSp>
    </p:spTree>
    <p:custDataLst>
      <p:tags r:id="rId1"/>
    </p:custDataLst>
    <p:extLst>
      <p:ext uri="{BB962C8B-B14F-4D97-AF65-F5344CB8AC3E}">
        <p14:creationId xmlns:p14="http://schemas.microsoft.com/office/powerpoint/2010/main" val="32881434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F09BB3-8F64-EF2B-8421-A17F67FB3567}"/>
              </a:ext>
            </a:extLst>
          </p:cNvPr>
          <p:cNvGraphicFramePr>
            <a:graphicFrameLocks noChangeAspect="1"/>
          </p:cNvGraphicFramePr>
          <p:nvPr>
            <p:custDataLst>
              <p:tags r:id="rId1"/>
            </p:custDataLst>
            <p:extLst>
              <p:ext uri="{D42A27DB-BD31-4B8C-83A1-F6EECF244321}">
                <p14:modId xmlns:p14="http://schemas.microsoft.com/office/powerpoint/2010/main" val="60277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a:extLst>
                          <a:ext uri="{FF2B5EF4-FFF2-40B4-BE49-F238E27FC236}">
                            <a16:creationId xmlns:a16="http://schemas.microsoft.com/office/drawing/2014/main" id="{11F09BB3-8F64-EF2B-8421-A17F67FB35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F640B5D6-DA30-4A72-90BF-4686C1ACCA99}"/>
              </a:ext>
            </a:extLst>
          </p:cNvPr>
          <p:cNvSpPr>
            <a:spLocks noGrp="1"/>
          </p:cNvSpPr>
          <p:nvPr>
            <p:ph type="title"/>
          </p:nvPr>
        </p:nvSpPr>
        <p:spPr>
          <a:xfrm>
            <a:off x="410400" y="1414463"/>
            <a:ext cx="11376788" cy="1231106"/>
          </a:xfrm>
        </p:spPr>
        <p:txBody>
          <a:bodyPr vert="horz"/>
          <a:lstStyle/>
          <a:p>
            <a:r>
              <a:rPr lang="en-US"/>
              <a:t>#scalability</a:t>
            </a:r>
          </a:p>
        </p:txBody>
      </p:sp>
      <p:grpSp>
        <p:nvGrpSpPr>
          <p:cNvPr id="11" name="Gruppieren 10">
            <a:extLst>
              <a:ext uri="{FF2B5EF4-FFF2-40B4-BE49-F238E27FC236}">
                <a16:creationId xmlns:a16="http://schemas.microsoft.com/office/drawing/2014/main" id="{AA6638EF-6E30-451B-9CC5-530574C3F359}"/>
              </a:ext>
            </a:extLst>
          </p:cNvPr>
          <p:cNvGrpSpPr>
            <a:grpSpLocks/>
          </p:cNvGrpSpPr>
          <p:nvPr/>
        </p:nvGrpSpPr>
        <p:grpSpPr>
          <a:xfrm>
            <a:off x="9898857" y="3919131"/>
            <a:ext cx="1888331" cy="1887944"/>
            <a:chOff x="5355001" y="2789941"/>
            <a:chExt cx="419530" cy="419444"/>
          </a:xfrm>
        </p:grpSpPr>
        <p:sp>
          <p:nvSpPr>
            <p:cNvPr id="12" name="Rectangle 12">
              <a:extLst>
                <a:ext uri="{FF2B5EF4-FFF2-40B4-BE49-F238E27FC236}">
                  <a16:creationId xmlns:a16="http://schemas.microsoft.com/office/drawing/2014/main" id="{7E39D249-5DD2-4A12-B20B-FF6061428179}"/>
                </a:ext>
              </a:extLst>
            </p:cNvPr>
            <p:cNvSpPr>
              <a:spLocks/>
            </p:cNvSpPr>
            <p:nvPr/>
          </p:nvSpPr>
          <p:spPr>
            <a:xfrm>
              <a:off x="5355001" y="2789941"/>
              <a:ext cx="419530" cy="419444"/>
            </a:xfrm>
            <a:prstGeom prst="rect">
              <a:avLst/>
            </a:prstGeom>
            <a:gradFill flip="none" rotWithShape="1">
              <a:gsLst>
                <a:gs pos="0">
                  <a:srgbClr val="00FFB8"/>
                </a:gs>
                <a:gs pos="100000">
                  <a:srgbClr val="07E2D8"/>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pic>
          <p:nvPicPr>
            <p:cNvPr id="13" name="Grafik 12" descr="Ein Bild, das Pfeil enthält.&#10;&#10;Beschreibung automatisch generiert.">
              <a:extLst>
                <a:ext uri="{FF2B5EF4-FFF2-40B4-BE49-F238E27FC236}">
                  <a16:creationId xmlns:a16="http://schemas.microsoft.com/office/drawing/2014/main" id="{782B1065-AF31-4857-A0A7-CB02D9AFF89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47096" t="35391" r="24700" b="17803"/>
            <a:stretch/>
          </p:blipFill>
          <p:spPr>
            <a:xfrm>
              <a:off x="5390078" y="2845594"/>
              <a:ext cx="330084" cy="308138"/>
            </a:xfrm>
            <a:custGeom>
              <a:avLst/>
              <a:gdLst>
                <a:gd name="connsiteX0" fmla="*/ 1152525 w 3438525"/>
                <a:gd name="connsiteY0" fmla="*/ 0 h 3209925"/>
                <a:gd name="connsiteX1" fmla="*/ 1285875 w 3438525"/>
                <a:gd name="connsiteY1" fmla="*/ 38100 h 3209925"/>
                <a:gd name="connsiteX2" fmla="*/ 3371850 w 3438525"/>
                <a:gd name="connsiteY2" fmla="*/ 57150 h 3209925"/>
                <a:gd name="connsiteX3" fmla="*/ 3438525 w 3438525"/>
                <a:gd name="connsiteY3" fmla="*/ 2295525 h 3209925"/>
                <a:gd name="connsiteX4" fmla="*/ 1762125 w 3438525"/>
                <a:gd name="connsiteY4" fmla="*/ 2362200 h 3209925"/>
                <a:gd name="connsiteX5" fmla="*/ 1724025 w 3438525"/>
                <a:gd name="connsiteY5" fmla="*/ 3209925 h 3209925"/>
                <a:gd name="connsiteX6" fmla="*/ 0 w 3438525"/>
                <a:gd name="connsiteY6" fmla="*/ 3133725 h 3209925"/>
                <a:gd name="connsiteX7" fmla="*/ 314326 w 3438525"/>
                <a:gd name="connsiteY7" fmla="*/ 1495425 h 3209925"/>
                <a:gd name="connsiteX8" fmla="*/ 1028700 w 3438525"/>
                <a:gd name="connsiteY8" fmla="*/ 1495425 h 3209925"/>
                <a:gd name="connsiteX9" fmla="*/ 1028700 w 3438525"/>
                <a:gd name="connsiteY9" fmla="*/ 1362075 h 3209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8525" h="3209925">
                  <a:moveTo>
                    <a:pt x="1152525" y="0"/>
                  </a:moveTo>
                  <a:lnTo>
                    <a:pt x="1285875" y="38100"/>
                  </a:lnTo>
                  <a:lnTo>
                    <a:pt x="3371850" y="57150"/>
                  </a:lnTo>
                  <a:lnTo>
                    <a:pt x="3438525" y="2295525"/>
                  </a:lnTo>
                  <a:lnTo>
                    <a:pt x="1762125" y="2362200"/>
                  </a:lnTo>
                  <a:lnTo>
                    <a:pt x="1724025" y="3209925"/>
                  </a:lnTo>
                  <a:lnTo>
                    <a:pt x="0" y="3133725"/>
                  </a:lnTo>
                  <a:lnTo>
                    <a:pt x="314326" y="1495425"/>
                  </a:lnTo>
                  <a:lnTo>
                    <a:pt x="1028700" y="1495425"/>
                  </a:lnTo>
                  <a:lnTo>
                    <a:pt x="1028700" y="1362075"/>
                  </a:lnTo>
                  <a:close/>
                </a:path>
              </a:pathLst>
            </a:custGeom>
          </p:spPr>
        </p:pic>
      </p:grpSp>
    </p:spTree>
    <p:extLst>
      <p:ext uri="{BB962C8B-B14F-4D97-AF65-F5344CB8AC3E}">
        <p14:creationId xmlns:p14="http://schemas.microsoft.com/office/powerpoint/2010/main" val="268330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5784BEC-E185-7316-C9BB-98CBCC0878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15784BEC-E185-7316-C9BB-98CBCC0878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6" name="Rechteck 85">
            <a:extLst>
              <a:ext uri="{FF2B5EF4-FFF2-40B4-BE49-F238E27FC236}">
                <a16:creationId xmlns:a16="http://schemas.microsoft.com/office/drawing/2014/main" id="{8BC139AC-CD73-DA12-7D10-B9E2FBDE90C0}"/>
              </a:ext>
            </a:extLst>
          </p:cNvPr>
          <p:cNvSpPr>
            <a:spLocks/>
          </p:cNvSpPr>
          <p:nvPr/>
        </p:nvSpPr>
        <p:spPr>
          <a:xfrm>
            <a:off x="0" y="1438958"/>
            <a:ext cx="12192000" cy="439261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endParaRPr lang="en-US"/>
          </a:p>
        </p:txBody>
      </p:sp>
      <p:sp>
        <p:nvSpPr>
          <p:cNvPr id="2" name="Titel 1">
            <a:extLst>
              <a:ext uri="{FF2B5EF4-FFF2-40B4-BE49-F238E27FC236}">
                <a16:creationId xmlns:a16="http://schemas.microsoft.com/office/drawing/2014/main" id="{75828C68-1A26-9A6D-784B-A6FC8369E7F3}"/>
              </a:ext>
            </a:extLst>
          </p:cNvPr>
          <p:cNvSpPr>
            <a:spLocks noGrp="1"/>
          </p:cNvSpPr>
          <p:nvPr>
            <p:ph type="title"/>
          </p:nvPr>
        </p:nvSpPr>
        <p:spPr/>
        <p:txBody>
          <a:bodyPr vert="horz"/>
          <a:lstStyle/>
          <a:p>
            <a:r>
              <a:rPr lang="en-US"/>
              <a:t>Ramping up supply chains for catenary solution looks far less challenging than the alternatives</a:t>
            </a:r>
          </a:p>
        </p:txBody>
      </p:sp>
      <p:cxnSp>
        <p:nvCxnSpPr>
          <p:cNvPr id="8" name="Gerader Verbinder 7">
            <a:extLst>
              <a:ext uri="{FF2B5EF4-FFF2-40B4-BE49-F238E27FC236}">
                <a16:creationId xmlns:a16="http://schemas.microsoft.com/office/drawing/2014/main" id="{A58E43AB-5DC0-ECCE-0D0B-FF0919CAF2D3}"/>
              </a:ext>
            </a:extLst>
          </p:cNvPr>
          <p:cNvCxnSpPr>
            <a:cxnSpLocks/>
          </p:cNvCxnSpPr>
          <p:nvPr/>
        </p:nvCxnSpPr>
        <p:spPr>
          <a:xfrm>
            <a:off x="939135" y="3825713"/>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9" name="Gerader Verbinder 8">
            <a:extLst>
              <a:ext uri="{FF2B5EF4-FFF2-40B4-BE49-F238E27FC236}">
                <a16:creationId xmlns:a16="http://schemas.microsoft.com/office/drawing/2014/main" id="{232C9052-00EB-B42F-2A06-B7A8E0C22811}"/>
              </a:ext>
            </a:extLst>
          </p:cNvPr>
          <p:cNvCxnSpPr>
            <a:cxnSpLocks/>
          </p:cNvCxnSpPr>
          <p:nvPr/>
        </p:nvCxnSpPr>
        <p:spPr>
          <a:xfrm>
            <a:off x="939135" y="3217969"/>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0" name="Gerader Verbinder 9">
            <a:extLst>
              <a:ext uri="{FF2B5EF4-FFF2-40B4-BE49-F238E27FC236}">
                <a16:creationId xmlns:a16="http://schemas.microsoft.com/office/drawing/2014/main" id="{9614696C-E5EF-C1AB-127A-D1B99381B9DF}"/>
              </a:ext>
            </a:extLst>
          </p:cNvPr>
          <p:cNvCxnSpPr>
            <a:cxnSpLocks/>
          </p:cNvCxnSpPr>
          <p:nvPr/>
        </p:nvCxnSpPr>
        <p:spPr>
          <a:xfrm>
            <a:off x="939135" y="2564180"/>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AB75D671-5B4F-4960-4AF2-CB8C09F1F333}"/>
              </a:ext>
            </a:extLst>
          </p:cNvPr>
          <p:cNvCxnSpPr>
            <a:cxnSpLocks/>
          </p:cNvCxnSpPr>
          <p:nvPr/>
        </p:nvCxnSpPr>
        <p:spPr>
          <a:xfrm>
            <a:off x="939135" y="4470289"/>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76B2C3F-69D3-EF02-451D-A4305DDAB8B5}"/>
              </a:ext>
            </a:extLst>
          </p:cNvPr>
          <p:cNvSpPr txBox="1">
            <a:spLocks/>
          </p:cNvSpPr>
          <p:nvPr/>
        </p:nvSpPr>
        <p:spPr>
          <a:xfrm>
            <a:off x="664497" y="2489651"/>
            <a:ext cx="141287"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80</a:t>
            </a:r>
          </a:p>
        </p:txBody>
      </p:sp>
      <p:sp>
        <p:nvSpPr>
          <p:cNvPr id="13" name="TextBox 11">
            <a:extLst>
              <a:ext uri="{FF2B5EF4-FFF2-40B4-BE49-F238E27FC236}">
                <a16:creationId xmlns:a16="http://schemas.microsoft.com/office/drawing/2014/main" id="{A7EB326E-73B5-A2FC-AB97-D75B6CA58C94}"/>
              </a:ext>
            </a:extLst>
          </p:cNvPr>
          <p:cNvSpPr txBox="1">
            <a:spLocks/>
          </p:cNvSpPr>
          <p:nvPr/>
        </p:nvSpPr>
        <p:spPr>
          <a:xfrm>
            <a:off x="664497" y="3139688"/>
            <a:ext cx="141287"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60</a:t>
            </a:r>
          </a:p>
        </p:txBody>
      </p:sp>
      <p:sp>
        <p:nvSpPr>
          <p:cNvPr id="14" name="TextBox 11">
            <a:extLst>
              <a:ext uri="{FF2B5EF4-FFF2-40B4-BE49-F238E27FC236}">
                <a16:creationId xmlns:a16="http://schemas.microsoft.com/office/drawing/2014/main" id="{3D84FC9E-A34D-B4F3-78D0-24B34D57B67C}"/>
              </a:ext>
            </a:extLst>
          </p:cNvPr>
          <p:cNvSpPr txBox="1">
            <a:spLocks/>
          </p:cNvSpPr>
          <p:nvPr/>
        </p:nvSpPr>
        <p:spPr>
          <a:xfrm>
            <a:off x="664497" y="3751185"/>
            <a:ext cx="141287"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40</a:t>
            </a:r>
          </a:p>
        </p:txBody>
      </p:sp>
      <p:sp>
        <p:nvSpPr>
          <p:cNvPr id="15" name="TextBox 11">
            <a:extLst>
              <a:ext uri="{FF2B5EF4-FFF2-40B4-BE49-F238E27FC236}">
                <a16:creationId xmlns:a16="http://schemas.microsoft.com/office/drawing/2014/main" id="{827A1CCB-7483-A808-44A1-4FE0D3DFE438}"/>
              </a:ext>
            </a:extLst>
          </p:cNvPr>
          <p:cNvSpPr txBox="1">
            <a:spLocks/>
          </p:cNvSpPr>
          <p:nvPr/>
        </p:nvSpPr>
        <p:spPr>
          <a:xfrm>
            <a:off x="664497" y="4395761"/>
            <a:ext cx="141287"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a:t>
            </a:r>
          </a:p>
        </p:txBody>
      </p:sp>
      <p:sp>
        <p:nvSpPr>
          <p:cNvPr id="16" name="TextBox 11">
            <a:extLst>
              <a:ext uri="{FF2B5EF4-FFF2-40B4-BE49-F238E27FC236}">
                <a16:creationId xmlns:a16="http://schemas.microsoft.com/office/drawing/2014/main" id="{80683A57-603B-6928-6F4F-3C840078902A}"/>
              </a:ext>
            </a:extLst>
          </p:cNvPr>
          <p:cNvSpPr txBox="1">
            <a:spLocks/>
          </p:cNvSpPr>
          <p:nvPr/>
        </p:nvSpPr>
        <p:spPr>
          <a:xfrm>
            <a:off x="735140" y="5014163"/>
            <a:ext cx="70644"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0</a:t>
            </a:r>
          </a:p>
        </p:txBody>
      </p:sp>
      <p:sp>
        <p:nvSpPr>
          <p:cNvPr id="17" name="TextBox 11">
            <a:extLst>
              <a:ext uri="{FF2B5EF4-FFF2-40B4-BE49-F238E27FC236}">
                <a16:creationId xmlns:a16="http://schemas.microsoft.com/office/drawing/2014/main" id="{99E315B7-2857-F3B8-AB18-619164352134}"/>
              </a:ext>
            </a:extLst>
          </p:cNvPr>
          <p:cNvSpPr txBox="1">
            <a:spLocks/>
          </p:cNvSpPr>
          <p:nvPr/>
        </p:nvSpPr>
        <p:spPr>
          <a:xfrm>
            <a:off x="805784"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0</a:t>
            </a:r>
          </a:p>
        </p:txBody>
      </p:sp>
      <p:sp>
        <p:nvSpPr>
          <p:cNvPr id="18" name="TextBox 11">
            <a:extLst>
              <a:ext uri="{FF2B5EF4-FFF2-40B4-BE49-F238E27FC236}">
                <a16:creationId xmlns:a16="http://schemas.microsoft.com/office/drawing/2014/main" id="{4C3478F6-F1DC-057E-CE82-8AD201AFF453}"/>
              </a:ext>
            </a:extLst>
          </p:cNvPr>
          <p:cNvSpPr txBox="1">
            <a:spLocks/>
          </p:cNvSpPr>
          <p:nvPr/>
        </p:nvSpPr>
        <p:spPr>
          <a:xfrm>
            <a:off x="1223954"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2</a:t>
            </a:r>
          </a:p>
        </p:txBody>
      </p:sp>
      <p:sp>
        <p:nvSpPr>
          <p:cNvPr id="19" name="TextBox 11">
            <a:extLst>
              <a:ext uri="{FF2B5EF4-FFF2-40B4-BE49-F238E27FC236}">
                <a16:creationId xmlns:a16="http://schemas.microsoft.com/office/drawing/2014/main" id="{E6C2EA34-70C3-956A-D323-728524F40154}"/>
              </a:ext>
            </a:extLst>
          </p:cNvPr>
          <p:cNvSpPr txBox="1">
            <a:spLocks/>
          </p:cNvSpPr>
          <p:nvPr/>
        </p:nvSpPr>
        <p:spPr>
          <a:xfrm>
            <a:off x="1616735"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4</a:t>
            </a:r>
          </a:p>
        </p:txBody>
      </p:sp>
      <p:sp>
        <p:nvSpPr>
          <p:cNvPr id="20" name="TextBox 11">
            <a:extLst>
              <a:ext uri="{FF2B5EF4-FFF2-40B4-BE49-F238E27FC236}">
                <a16:creationId xmlns:a16="http://schemas.microsoft.com/office/drawing/2014/main" id="{34360D47-C173-ABAA-EF6B-AB1F5A162526}"/>
              </a:ext>
            </a:extLst>
          </p:cNvPr>
          <p:cNvSpPr txBox="1">
            <a:spLocks/>
          </p:cNvSpPr>
          <p:nvPr/>
        </p:nvSpPr>
        <p:spPr>
          <a:xfrm>
            <a:off x="2025391"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6</a:t>
            </a:r>
          </a:p>
        </p:txBody>
      </p:sp>
      <p:sp>
        <p:nvSpPr>
          <p:cNvPr id="21" name="TextBox 11">
            <a:extLst>
              <a:ext uri="{FF2B5EF4-FFF2-40B4-BE49-F238E27FC236}">
                <a16:creationId xmlns:a16="http://schemas.microsoft.com/office/drawing/2014/main" id="{70CCA80A-E83F-9F3B-4FE6-7867EE13116B}"/>
              </a:ext>
            </a:extLst>
          </p:cNvPr>
          <p:cNvSpPr txBox="1">
            <a:spLocks/>
          </p:cNvSpPr>
          <p:nvPr/>
        </p:nvSpPr>
        <p:spPr>
          <a:xfrm>
            <a:off x="2418172"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8</a:t>
            </a:r>
          </a:p>
        </p:txBody>
      </p:sp>
      <p:sp>
        <p:nvSpPr>
          <p:cNvPr id="22" name="TextBox 11">
            <a:extLst>
              <a:ext uri="{FF2B5EF4-FFF2-40B4-BE49-F238E27FC236}">
                <a16:creationId xmlns:a16="http://schemas.microsoft.com/office/drawing/2014/main" id="{E042372E-77FB-EC40-E8C5-686B29B196B8}"/>
              </a:ext>
            </a:extLst>
          </p:cNvPr>
          <p:cNvSpPr txBox="1">
            <a:spLocks/>
          </p:cNvSpPr>
          <p:nvPr/>
        </p:nvSpPr>
        <p:spPr>
          <a:xfrm>
            <a:off x="2836342" y="5163219"/>
            <a:ext cx="266701" cy="149057"/>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30</a:t>
            </a:r>
          </a:p>
        </p:txBody>
      </p:sp>
      <p:sp>
        <p:nvSpPr>
          <p:cNvPr id="23" name="TextBox 11">
            <a:extLst>
              <a:ext uri="{FF2B5EF4-FFF2-40B4-BE49-F238E27FC236}">
                <a16:creationId xmlns:a16="http://schemas.microsoft.com/office/drawing/2014/main" id="{F68FF4BE-7224-7381-7F51-2D2E1727A1DF}"/>
              </a:ext>
            </a:extLst>
          </p:cNvPr>
          <p:cNvSpPr txBox="1">
            <a:spLocks/>
          </p:cNvSpPr>
          <p:nvPr/>
        </p:nvSpPr>
        <p:spPr>
          <a:xfrm rot="16200000">
            <a:off x="419197" y="2431066"/>
            <a:ext cx="136588" cy="15418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Mt</a:t>
            </a:r>
          </a:p>
        </p:txBody>
      </p:sp>
      <p:sp>
        <p:nvSpPr>
          <p:cNvPr id="26" name="Freihandform: Form 25">
            <a:extLst>
              <a:ext uri="{FF2B5EF4-FFF2-40B4-BE49-F238E27FC236}">
                <a16:creationId xmlns:a16="http://schemas.microsoft.com/office/drawing/2014/main" id="{C192ABB4-B9FD-EE0F-AC86-5120B77C4A94}"/>
              </a:ext>
            </a:extLst>
          </p:cNvPr>
          <p:cNvSpPr/>
          <p:nvPr/>
        </p:nvSpPr>
        <p:spPr>
          <a:xfrm>
            <a:off x="922466" y="4403531"/>
            <a:ext cx="2019300" cy="697524"/>
          </a:xfrm>
          <a:custGeom>
            <a:avLst/>
            <a:gdLst>
              <a:gd name="connsiteX0" fmla="*/ 0 w 2019300"/>
              <a:gd name="connsiteY0" fmla="*/ 76200 h 721519"/>
              <a:gd name="connsiteX1" fmla="*/ 7144 w 2019300"/>
              <a:gd name="connsiteY1" fmla="*/ 721519 h 721519"/>
              <a:gd name="connsiteX2" fmla="*/ 2019300 w 2019300"/>
              <a:gd name="connsiteY2" fmla="*/ 711994 h 721519"/>
              <a:gd name="connsiteX3" fmla="*/ 2019300 w 2019300"/>
              <a:gd name="connsiteY3" fmla="*/ 166687 h 721519"/>
              <a:gd name="connsiteX4" fmla="*/ 1512094 w 2019300"/>
              <a:gd name="connsiteY4" fmla="*/ 61912 h 721519"/>
              <a:gd name="connsiteX5" fmla="*/ 1035844 w 2019300"/>
              <a:gd name="connsiteY5" fmla="*/ 0 h 721519"/>
              <a:gd name="connsiteX6" fmla="*/ 835819 w 2019300"/>
              <a:gd name="connsiteY6" fmla="*/ 7144 h 721519"/>
              <a:gd name="connsiteX7" fmla="*/ 150019 w 2019300"/>
              <a:gd name="connsiteY7" fmla="*/ 42862 h 721519"/>
              <a:gd name="connsiteX8" fmla="*/ 0 w 2019300"/>
              <a:gd name="connsiteY8" fmla="*/ 76200 h 721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19300" h="721519">
                <a:moveTo>
                  <a:pt x="0" y="76200"/>
                </a:moveTo>
                <a:cubicBezTo>
                  <a:pt x="2381" y="291306"/>
                  <a:pt x="4763" y="506413"/>
                  <a:pt x="7144" y="721519"/>
                </a:cubicBezTo>
                <a:lnTo>
                  <a:pt x="2019300" y="711994"/>
                </a:lnTo>
                <a:lnTo>
                  <a:pt x="2019300" y="166687"/>
                </a:lnTo>
                <a:lnTo>
                  <a:pt x="1512094" y="61912"/>
                </a:lnTo>
                <a:lnTo>
                  <a:pt x="1035844" y="0"/>
                </a:lnTo>
                <a:lnTo>
                  <a:pt x="835819" y="7144"/>
                </a:lnTo>
                <a:lnTo>
                  <a:pt x="150019" y="42862"/>
                </a:lnTo>
                <a:lnTo>
                  <a:pt x="0" y="76200"/>
                </a:lnTo>
                <a:close/>
              </a:path>
            </a:pathLst>
          </a:cu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25" name="Freihandform: Form 24">
            <a:extLst>
              <a:ext uri="{FF2B5EF4-FFF2-40B4-BE49-F238E27FC236}">
                <a16:creationId xmlns:a16="http://schemas.microsoft.com/office/drawing/2014/main" id="{6DC4B663-4C9C-8000-2132-AFFE379D574E}"/>
              </a:ext>
            </a:extLst>
          </p:cNvPr>
          <p:cNvSpPr/>
          <p:nvPr/>
        </p:nvSpPr>
        <p:spPr>
          <a:xfrm>
            <a:off x="917703" y="4366698"/>
            <a:ext cx="2028825" cy="207185"/>
          </a:xfrm>
          <a:custGeom>
            <a:avLst/>
            <a:gdLst>
              <a:gd name="connsiteX0" fmla="*/ 0 w 2028825"/>
              <a:gd name="connsiteY0" fmla="*/ 116681 h 214312"/>
              <a:gd name="connsiteX1" fmla="*/ 369094 w 2028825"/>
              <a:gd name="connsiteY1" fmla="*/ 45244 h 214312"/>
              <a:gd name="connsiteX2" fmla="*/ 735807 w 2028825"/>
              <a:gd name="connsiteY2" fmla="*/ 14287 h 214312"/>
              <a:gd name="connsiteX3" fmla="*/ 1085850 w 2028825"/>
              <a:gd name="connsiteY3" fmla="*/ 0 h 214312"/>
              <a:gd name="connsiteX4" fmla="*/ 1409700 w 2028825"/>
              <a:gd name="connsiteY4" fmla="*/ 35719 h 214312"/>
              <a:gd name="connsiteX5" fmla="*/ 1566863 w 2028825"/>
              <a:gd name="connsiteY5" fmla="*/ 54769 h 214312"/>
              <a:gd name="connsiteX6" fmla="*/ 1590675 w 2028825"/>
              <a:gd name="connsiteY6" fmla="*/ 54769 h 214312"/>
              <a:gd name="connsiteX7" fmla="*/ 1666875 w 2028825"/>
              <a:gd name="connsiteY7" fmla="*/ 78581 h 214312"/>
              <a:gd name="connsiteX8" fmla="*/ 1771650 w 2028825"/>
              <a:gd name="connsiteY8" fmla="*/ 102394 h 214312"/>
              <a:gd name="connsiteX9" fmla="*/ 1795463 w 2028825"/>
              <a:gd name="connsiteY9" fmla="*/ 109537 h 214312"/>
              <a:gd name="connsiteX10" fmla="*/ 1947863 w 2028825"/>
              <a:gd name="connsiteY10" fmla="*/ 154781 h 214312"/>
              <a:gd name="connsiteX11" fmla="*/ 2014538 w 2028825"/>
              <a:gd name="connsiteY11" fmla="*/ 147637 h 214312"/>
              <a:gd name="connsiteX12" fmla="*/ 2028825 w 2028825"/>
              <a:gd name="connsiteY12" fmla="*/ 214312 h 214312"/>
              <a:gd name="connsiteX13" fmla="*/ 1814513 w 2028825"/>
              <a:gd name="connsiteY13" fmla="*/ 166687 h 214312"/>
              <a:gd name="connsiteX14" fmla="*/ 1790700 w 2028825"/>
              <a:gd name="connsiteY14" fmla="*/ 164306 h 214312"/>
              <a:gd name="connsiteX15" fmla="*/ 1604963 w 2028825"/>
              <a:gd name="connsiteY15" fmla="*/ 119062 h 214312"/>
              <a:gd name="connsiteX16" fmla="*/ 1571625 w 2028825"/>
              <a:gd name="connsiteY16" fmla="*/ 111919 h 214312"/>
              <a:gd name="connsiteX17" fmla="*/ 1240632 w 2028825"/>
              <a:gd name="connsiteY17" fmla="*/ 92869 h 214312"/>
              <a:gd name="connsiteX18" fmla="*/ 1069182 w 2028825"/>
              <a:gd name="connsiteY18" fmla="*/ 57150 h 214312"/>
              <a:gd name="connsiteX19" fmla="*/ 1040607 w 2028825"/>
              <a:gd name="connsiteY19" fmla="*/ 59531 h 214312"/>
              <a:gd name="connsiteX20" fmla="*/ 1002507 w 2028825"/>
              <a:gd name="connsiteY20" fmla="*/ 64294 h 214312"/>
              <a:gd name="connsiteX21" fmla="*/ 940594 w 2028825"/>
              <a:gd name="connsiteY21" fmla="*/ 69056 h 214312"/>
              <a:gd name="connsiteX22" fmla="*/ 669132 w 2028825"/>
              <a:gd name="connsiteY22" fmla="*/ 45244 h 214312"/>
              <a:gd name="connsiteX23" fmla="*/ 330994 w 2028825"/>
              <a:gd name="connsiteY23" fmla="*/ 57150 h 214312"/>
              <a:gd name="connsiteX24" fmla="*/ 302419 w 2028825"/>
              <a:gd name="connsiteY24" fmla="*/ 64294 h 214312"/>
              <a:gd name="connsiteX25" fmla="*/ 0 w 2028825"/>
              <a:gd name="connsiteY25" fmla="*/ 116681 h 21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28825" h="214312">
                <a:moveTo>
                  <a:pt x="0" y="116681"/>
                </a:moveTo>
                <a:lnTo>
                  <a:pt x="369094" y="45244"/>
                </a:lnTo>
                <a:lnTo>
                  <a:pt x="735807" y="14287"/>
                </a:lnTo>
                <a:lnTo>
                  <a:pt x="1085850" y="0"/>
                </a:lnTo>
                <a:lnTo>
                  <a:pt x="1409700" y="35719"/>
                </a:lnTo>
                <a:lnTo>
                  <a:pt x="1566863" y="54769"/>
                </a:lnTo>
                <a:lnTo>
                  <a:pt x="1590675" y="54769"/>
                </a:lnTo>
                <a:lnTo>
                  <a:pt x="1666875" y="78581"/>
                </a:lnTo>
                <a:lnTo>
                  <a:pt x="1771650" y="102394"/>
                </a:lnTo>
                <a:lnTo>
                  <a:pt x="1795463" y="109537"/>
                </a:lnTo>
                <a:lnTo>
                  <a:pt x="1947863" y="154781"/>
                </a:lnTo>
                <a:lnTo>
                  <a:pt x="2014538" y="147637"/>
                </a:lnTo>
                <a:lnTo>
                  <a:pt x="2028825" y="214312"/>
                </a:lnTo>
                <a:lnTo>
                  <a:pt x="1814513" y="166687"/>
                </a:lnTo>
                <a:lnTo>
                  <a:pt x="1790700" y="164306"/>
                </a:lnTo>
                <a:lnTo>
                  <a:pt x="1604963" y="119062"/>
                </a:lnTo>
                <a:lnTo>
                  <a:pt x="1571625" y="111919"/>
                </a:lnTo>
                <a:lnTo>
                  <a:pt x="1240632" y="92869"/>
                </a:lnTo>
                <a:lnTo>
                  <a:pt x="1069182" y="57150"/>
                </a:lnTo>
                <a:cubicBezTo>
                  <a:pt x="1059657" y="57944"/>
                  <a:pt x="1050111" y="58513"/>
                  <a:pt x="1040607" y="59531"/>
                </a:cubicBezTo>
                <a:cubicBezTo>
                  <a:pt x="1027881" y="60895"/>
                  <a:pt x="1015248" y="63081"/>
                  <a:pt x="1002507" y="64294"/>
                </a:cubicBezTo>
                <a:cubicBezTo>
                  <a:pt x="981902" y="66256"/>
                  <a:pt x="961232" y="67469"/>
                  <a:pt x="940594" y="69056"/>
                </a:cubicBezTo>
                <a:lnTo>
                  <a:pt x="669132" y="45244"/>
                </a:lnTo>
                <a:lnTo>
                  <a:pt x="330994" y="57150"/>
                </a:lnTo>
                <a:lnTo>
                  <a:pt x="302419" y="64294"/>
                </a:lnTo>
                <a:lnTo>
                  <a:pt x="0" y="116681"/>
                </a:lnTo>
                <a:close/>
              </a:path>
            </a:pathLst>
          </a:cu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0" name="Freihandform: Form 29">
            <a:extLst>
              <a:ext uri="{FF2B5EF4-FFF2-40B4-BE49-F238E27FC236}">
                <a16:creationId xmlns:a16="http://schemas.microsoft.com/office/drawing/2014/main" id="{0572C559-350A-7C33-14DA-3A716701FBCF}"/>
              </a:ext>
            </a:extLst>
          </p:cNvPr>
          <p:cNvSpPr/>
          <p:nvPr/>
        </p:nvSpPr>
        <p:spPr>
          <a:xfrm>
            <a:off x="941516" y="4336771"/>
            <a:ext cx="1990725" cy="128915"/>
          </a:xfrm>
          <a:custGeom>
            <a:avLst/>
            <a:gdLst>
              <a:gd name="connsiteX0" fmla="*/ 0 w 1990725"/>
              <a:gd name="connsiteY0" fmla="*/ 133350 h 133350"/>
              <a:gd name="connsiteX1" fmla="*/ 247650 w 1990725"/>
              <a:gd name="connsiteY1" fmla="*/ 95250 h 133350"/>
              <a:gd name="connsiteX2" fmla="*/ 357187 w 1990725"/>
              <a:gd name="connsiteY2" fmla="*/ 66675 h 133350"/>
              <a:gd name="connsiteX3" fmla="*/ 488156 w 1990725"/>
              <a:gd name="connsiteY3" fmla="*/ 61912 h 133350"/>
              <a:gd name="connsiteX4" fmla="*/ 692944 w 1990725"/>
              <a:gd name="connsiteY4" fmla="*/ 54768 h 133350"/>
              <a:gd name="connsiteX5" fmla="*/ 1033462 w 1990725"/>
              <a:gd name="connsiteY5" fmla="*/ 50006 h 133350"/>
              <a:gd name="connsiteX6" fmla="*/ 1278731 w 1990725"/>
              <a:gd name="connsiteY6" fmla="*/ 40481 h 133350"/>
              <a:gd name="connsiteX7" fmla="*/ 1990725 w 1990725"/>
              <a:gd name="connsiteY7"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0725" h="133350">
                <a:moveTo>
                  <a:pt x="0" y="133350"/>
                </a:moveTo>
                <a:lnTo>
                  <a:pt x="247650" y="95250"/>
                </a:lnTo>
                <a:lnTo>
                  <a:pt x="357187" y="66675"/>
                </a:lnTo>
                <a:lnTo>
                  <a:pt x="488156" y="61912"/>
                </a:lnTo>
                <a:lnTo>
                  <a:pt x="692944" y="54768"/>
                </a:lnTo>
                <a:lnTo>
                  <a:pt x="1033462" y="50006"/>
                </a:lnTo>
                <a:lnTo>
                  <a:pt x="1278731" y="40481"/>
                </a:lnTo>
                <a:lnTo>
                  <a:pt x="1990725" y="0"/>
                </a:lnTo>
              </a:path>
            </a:pathLst>
          </a:custGeom>
          <a:noFill/>
          <a:ln w="19050">
            <a:solidFill>
              <a:srgbClr val="FFD7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ihandform: Form 30">
            <a:extLst>
              <a:ext uri="{FF2B5EF4-FFF2-40B4-BE49-F238E27FC236}">
                <a16:creationId xmlns:a16="http://schemas.microsoft.com/office/drawing/2014/main" id="{9F58294C-8800-EA0D-A92C-02D271BA6C6A}"/>
              </a:ext>
            </a:extLst>
          </p:cNvPr>
          <p:cNvSpPr/>
          <p:nvPr/>
        </p:nvSpPr>
        <p:spPr>
          <a:xfrm>
            <a:off x="941516" y="4274615"/>
            <a:ext cx="2005012" cy="188768"/>
          </a:xfrm>
          <a:custGeom>
            <a:avLst/>
            <a:gdLst>
              <a:gd name="connsiteX0" fmla="*/ 0 w 2005012"/>
              <a:gd name="connsiteY0" fmla="*/ 195262 h 195262"/>
              <a:gd name="connsiteX1" fmla="*/ 85725 w 2005012"/>
              <a:gd name="connsiteY1" fmla="*/ 145256 h 195262"/>
              <a:gd name="connsiteX2" fmla="*/ 335756 w 2005012"/>
              <a:gd name="connsiteY2" fmla="*/ 92869 h 195262"/>
              <a:gd name="connsiteX3" fmla="*/ 514350 w 2005012"/>
              <a:gd name="connsiteY3" fmla="*/ 83344 h 195262"/>
              <a:gd name="connsiteX4" fmla="*/ 757237 w 2005012"/>
              <a:gd name="connsiteY4" fmla="*/ 78581 h 195262"/>
              <a:gd name="connsiteX5" fmla="*/ 935831 w 2005012"/>
              <a:gd name="connsiteY5" fmla="*/ 76200 h 195262"/>
              <a:gd name="connsiteX6" fmla="*/ 1131094 w 2005012"/>
              <a:gd name="connsiteY6" fmla="*/ 69056 h 195262"/>
              <a:gd name="connsiteX7" fmla="*/ 1445419 w 2005012"/>
              <a:gd name="connsiteY7" fmla="*/ 57150 h 195262"/>
              <a:gd name="connsiteX8" fmla="*/ 1697831 w 2005012"/>
              <a:gd name="connsiteY8" fmla="*/ 40481 h 195262"/>
              <a:gd name="connsiteX9" fmla="*/ 2005012 w 2005012"/>
              <a:gd name="connsiteY9" fmla="*/ 0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5012" h="195262">
                <a:moveTo>
                  <a:pt x="0" y="195262"/>
                </a:moveTo>
                <a:lnTo>
                  <a:pt x="85725" y="145256"/>
                </a:lnTo>
                <a:lnTo>
                  <a:pt x="335756" y="92869"/>
                </a:lnTo>
                <a:lnTo>
                  <a:pt x="514350" y="83344"/>
                </a:lnTo>
                <a:lnTo>
                  <a:pt x="757237" y="78581"/>
                </a:lnTo>
                <a:lnTo>
                  <a:pt x="935831" y="76200"/>
                </a:lnTo>
                <a:lnTo>
                  <a:pt x="1131094" y="69056"/>
                </a:lnTo>
                <a:lnTo>
                  <a:pt x="1445419" y="57150"/>
                </a:lnTo>
                <a:lnTo>
                  <a:pt x="1697831" y="40481"/>
                </a:lnTo>
                <a:lnTo>
                  <a:pt x="2005012"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11">
            <a:extLst>
              <a:ext uri="{FF2B5EF4-FFF2-40B4-BE49-F238E27FC236}">
                <a16:creationId xmlns:a16="http://schemas.microsoft.com/office/drawing/2014/main" id="{8D3337FE-D194-1E76-1DBF-ABCD6145B903}"/>
              </a:ext>
            </a:extLst>
          </p:cNvPr>
          <p:cNvSpPr txBox="1">
            <a:spLocks/>
          </p:cNvSpPr>
          <p:nvPr/>
        </p:nvSpPr>
        <p:spPr>
          <a:xfrm>
            <a:off x="5146743"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0</a:t>
            </a:r>
          </a:p>
        </p:txBody>
      </p:sp>
      <p:sp>
        <p:nvSpPr>
          <p:cNvPr id="42" name="TextBox 11">
            <a:extLst>
              <a:ext uri="{FF2B5EF4-FFF2-40B4-BE49-F238E27FC236}">
                <a16:creationId xmlns:a16="http://schemas.microsoft.com/office/drawing/2014/main" id="{54935340-BC7C-936C-6595-6200AB1AC39D}"/>
              </a:ext>
            </a:extLst>
          </p:cNvPr>
          <p:cNvSpPr txBox="1">
            <a:spLocks/>
          </p:cNvSpPr>
          <p:nvPr/>
        </p:nvSpPr>
        <p:spPr>
          <a:xfrm>
            <a:off x="5564913"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2</a:t>
            </a:r>
          </a:p>
        </p:txBody>
      </p:sp>
      <p:sp>
        <p:nvSpPr>
          <p:cNvPr id="43" name="TextBox 11">
            <a:extLst>
              <a:ext uri="{FF2B5EF4-FFF2-40B4-BE49-F238E27FC236}">
                <a16:creationId xmlns:a16="http://schemas.microsoft.com/office/drawing/2014/main" id="{77E79CEE-AC3D-4671-01B3-2634D569662F}"/>
              </a:ext>
            </a:extLst>
          </p:cNvPr>
          <p:cNvSpPr txBox="1">
            <a:spLocks/>
          </p:cNvSpPr>
          <p:nvPr/>
        </p:nvSpPr>
        <p:spPr>
          <a:xfrm>
            <a:off x="5957694"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4</a:t>
            </a:r>
          </a:p>
        </p:txBody>
      </p:sp>
      <p:sp>
        <p:nvSpPr>
          <p:cNvPr id="44" name="TextBox 11">
            <a:extLst>
              <a:ext uri="{FF2B5EF4-FFF2-40B4-BE49-F238E27FC236}">
                <a16:creationId xmlns:a16="http://schemas.microsoft.com/office/drawing/2014/main" id="{57980CDB-B0FB-D885-C1F4-3060F0803867}"/>
              </a:ext>
            </a:extLst>
          </p:cNvPr>
          <p:cNvSpPr txBox="1">
            <a:spLocks/>
          </p:cNvSpPr>
          <p:nvPr/>
        </p:nvSpPr>
        <p:spPr>
          <a:xfrm>
            <a:off x="6366350"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6</a:t>
            </a:r>
          </a:p>
        </p:txBody>
      </p:sp>
      <p:sp>
        <p:nvSpPr>
          <p:cNvPr id="45" name="TextBox 11">
            <a:extLst>
              <a:ext uri="{FF2B5EF4-FFF2-40B4-BE49-F238E27FC236}">
                <a16:creationId xmlns:a16="http://schemas.microsoft.com/office/drawing/2014/main" id="{1A5B4C78-0EAA-0181-144B-10D4AC7BB99B}"/>
              </a:ext>
            </a:extLst>
          </p:cNvPr>
          <p:cNvSpPr txBox="1">
            <a:spLocks/>
          </p:cNvSpPr>
          <p:nvPr/>
        </p:nvSpPr>
        <p:spPr>
          <a:xfrm>
            <a:off x="6759131"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8</a:t>
            </a:r>
          </a:p>
        </p:txBody>
      </p:sp>
      <p:sp>
        <p:nvSpPr>
          <p:cNvPr id="46" name="TextBox 11">
            <a:extLst>
              <a:ext uri="{FF2B5EF4-FFF2-40B4-BE49-F238E27FC236}">
                <a16:creationId xmlns:a16="http://schemas.microsoft.com/office/drawing/2014/main" id="{06E6484F-CC0F-7736-1D0F-FD0CC5C1A428}"/>
              </a:ext>
            </a:extLst>
          </p:cNvPr>
          <p:cNvSpPr txBox="1">
            <a:spLocks/>
          </p:cNvSpPr>
          <p:nvPr/>
        </p:nvSpPr>
        <p:spPr>
          <a:xfrm>
            <a:off x="7177301" y="5163219"/>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30</a:t>
            </a:r>
          </a:p>
        </p:txBody>
      </p:sp>
      <p:cxnSp>
        <p:nvCxnSpPr>
          <p:cNvPr id="53" name="Gerader Verbinder 52">
            <a:extLst>
              <a:ext uri="{FF2B5EF4-FFF2-40B4-BE49-F238E27FC236}">
                <a16:creationId xmlns:a16="http://schemas.microsoft.com/office/drawing/2014/main" id="{53B2D2D6-C22E-E704-849B-6C086F162E3D}"/>
              </a:ext>
            </a:extLst>
          </p:cNvPr>
          <p:cNvCxnSpPr>
            <a:cxnSpLocks/>
          </p:cNvCxnSpPr>
          <p:nvPr/>
        </p:nvCxnSpPr>
        <p:spPr>
          <a:xfrm>
            <a:off x="5282892" y="3811900"/>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A13F2936-B7F2-D744-5FB0-60003D950A13}"/>
              </a:ext>
            </a:extLst>
          </p:cNvPr>
          <p:cNvCxnSpPr>
            <a:cxnSpLocks/>
          </p:cNvCxnSpPr>
          <p:nvPr/>
        </p:nvCxnSpPr>
        <p:spPr>
          <a:xfrm>
            <a:off x="5282892" y="3204156"/>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69F1F4E-8704-4DB7-82EA-4AEDD8465958}"/>
              </a:ext>
            </a:extLst>
          </p:cNvPr>
          <p:cNvCxnSpPr>
            <a:cxnSpLocks/>
          </p:cNvCxnSpPr>
          <p:nvPr/>
        </p:nvCxnSpPr>
        <p:spPr>
          <a:xfrm>
            <a:off x="5282892" y="2550367"/>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351C4454-AFDC-0177-4D9A-63A0F1FE6C3C}"/>
              </a:ext>
            </a:extLst>
          </p:cNvPr>
          <p:cNvCxnSpPr>
            <a:cxnSpLocks/>
          </p:cNvCxnSpPr>
          <p:nvPr/>
        </p:nvCxnSpPr>
        <p:spPr>
          <a:xfrm>
            <a:off x="5282892" y="4456476"/>
            <a:ext cx="1981200"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57" name="TextBox 11">
            <a:extLst>
              <a:ext uri="{FF2B5EF4-FFF2-40B4-BE49-F238E27FC236}">
                <a16:creationId xmlns:a16="http://schemas.microsoft.com/office/drawing/2014/main" id="{49E7F465-E70D-47FD-01CA-F73F98D55DA4}"/>
              </a:ext>
            </a:extLst>
          </p:cNvPr>
          <p:cNvSpPr txBox="1">
            <a:spLocks/>
          </p:cNvSpPr>
          <p:nvPr/>
        </p:nvSpPr>
        <p:spPr>
          <a:xfrm>
            <a:off x="4857097" y="2475838"/>
            <a:ext cx="31974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3,200</a:t>
            </a:r>
          </a:p>
        </p:txBody>
      </p:sp>
      <p:sp>
        <p:nvSpPr>
          <p:cNvPr id="58" name="TextBox 11">
            <a:extLst>
              <a:ext uri="{FF2B5EF4-FFF2-40B4-BE49-F238E27FC236}">
                <a16:creationId xmlns:a16="http://schemas.microsoft.com/office/drawing/2014/main" id="{3DBA8000-3068-0834-01DB-4A2F4BD789AB}"/>
              </a:ext>
            </a:extLst>
          </p:cNvPr>
          <p:cNvSpPr txBox="1">
            <a:spLocks/>
          </p:cNvSpPr>
          <p:nvPr/>
        </p:nvSpPr>
        <p:spPr>
          <a:xfrm>
            <a:off x="4857097" y="3125875"/>
            <a:ext cx="31974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2,400</a:t>
            </a:r>
          </a:p>
        </p:txBody>
      </p:sp>
      <p:sp>
        <p:nvSpPr>
          <p:cNvPr id="59" name="TextBox 11">
            <a:extLst>
              <a:ext uri="{FF2B5EF4-FFF2-40B4-BE49-F238E27FC236}">
                <a16:creationId xmlns:a16="http://schemas.microsoft.com/office/drawing/2014/main" id="{080D2818-5B79-31C8-4DC3-6230394AA042}"/>
              </a:ext>
            </a:extLst>
          </p:cNvPr>
          <p:cNvSpPr txBox="1">
            <a:spLocks/>
          </p:cNvSpPr>
          <p:nvPr/>
        </p:nvSpPr>
        <p:spPr>
          <a:xfrm>
            <a:off x="4857097" y="3737372"/>
            <a:ext cx="31974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1,600</a:t>
            </a:r>
          </a:p>
        </p:txBody>
      </p:sp>
      <p:sp>
        <p:nvSpPr>
          <p:cNvPr id="60" name="TextBox 11">
            <a:extLst>
              <a:ext uri="{FF2B5EF4-FFF2-40B4-BE49-F238E27FC236}">
                <a16:creationId xmlns:a16="http://schemas.microsoft.com/office/drawing/2014/main" id="{35CF88E6-C958-A7DE-0CDD-F6A177F01B2C}"/>
              </a:ext>
            </a:extLst>
          </p:cNvPr>
          <p:cNvSpPr txBox="1">
            <a:spLocks/>
          </p:cNvSpPr>
          <p:nvPr/>
        </p:nvSpPr>
        <p:spPr>
          <a:xfrm>
            <a:off x="4857097" y="4381947"/>
            <a:ext cx="31974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800</a:t>
            </a:r>
          </a:p>
        </p:txBody>
      </p:sp>
      <p:sp>
        <p:nvSpPr>
          <p:cNvPr id="61" name="TextBox 11">
            <a:extLst>
              <a:ext uri="{FF2B5EF4-FFF2-40B4-BE49-F238E27FC236}">
                <a16:creationId xmlns:a16="http://schemas.microsoft.com/office/drawing/2014/main" id="{D65CEDD5-4367-7106-2698-2B58C5EEC4E8}"/>
              </a:ext>
            </a:extLst>
          </p:cNvPr>
          <p:cNvSpPr txBox="1">
            <a:spLocks/>
          </p:cNvSpPr>
          <p:nvPr/>
        </p:nvSpPr>
        <p:spPr>
          <a:xfrm>
            <a:off x="5078897" y="5000349"/>
            <a:ext cx="70644"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0</a:t>
            </a:r>
          </a:p>
        </p:txBody>
      </p:sp>
      <p:sp>
        <p:nvSpPr>
          <p:cNvPr id="62" name="TextBox 11">
            <a:extLst>
              <a:ext uri="{FF2B5EF4-FFF2-40B4-BE49-F238E27FC236}">
                <a16:creationId xmlns:a16="http://schemas.microsoft.com/office/drawing/2014/main" id="{20B855D2-23D0-40CB-73A2-42D3960088F1}"/>
              </a:ext>
            </a:extLst>
          </p:cNvPr>
          <p:cNvSpPr txBox="1">
            <a:spLocks/>
          </p:cNvSpPr>
          <p:nvPr/>
        </p:nvSpPr>
        <p:spPr>
          <a:xfrm rot="16200000">
            <a:off x="3842322" y="3243307"/>
            <a:ext cx="1761071" cy="15418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Kt of lithium carbonate equivalent</a:t>
            </a:r>
          </a:p>
        </p:txBody>
      </p:sp>
      <p:sp>
        <p:nvSpPr>
          <p:cNvPr id="32" name="Freihandform: Form 31">
            <a:extLst>
              <a:ext uri="{FF2B5EF4-FFF2-40B4-BE49-F238E27FC236}">
                <a16:creationId xmlns:a16="http://schemas.microsoft.com/office/drawing/2014/main" id="{E6303330-2014-D83E-98DE-4DA9365402CB}"/>
              </a:ext>
            </a:extLst>
          </p:cNvPr>
          <p:cNvSpPr/>
          <p:nvPr/>
        </p:nvSpPr>
        <p:spPr>
          <a:xfrm>
            <a:off x="5277065" y="3001576"/>
            <a:ext cx="2005012" cy="1744960"/>
          </a:xfrm>
          <a:custGeom>
            <a:avLst/>
            <a:gdLst>
              <a:gd name="connsiteX0" fmla="*/ 0 w 2005012"/>
              <a:gd name="connsiteY0" fmla="*/ 1804987 h 1804987"/>
              <a:gd name="connsiteX1" fmla="*/ 0 w 2005012"/>
              <a:gd name="connsiteY1" fmla="*/ 1804987 h 1804987"/>
              <a:gd name="connsiteX2" fmla="*/ 438150 w 2005012"/>
              <a:gd name="connsiteY2" fmla="*/ 1614487 h 1804987"/>
              <a:gd name="connsiteX3" fmla="*/ 923925 w 2005012"/>
              <a:gd name="connsiteY3" fmla="*/ 1252537 h 1804987"/>
              <a:gd name="connsiteX4" fmla="*/ 1014412 w 2005012"/>
              <a:gd name="connsiteY4" fmla="*/ 1143000 h 1804987"/>
              <a:gd name="connsiteX5" fmla="*/ 1143000 w 2005012"/>
              <a:gd name="connsiteY5" fmla="*/ 1062037 h 1804987"/>
              <a:gd name="connsiteX6" fmla="*/ 1338262 w 2005012"/>
              <a:gd name="connsiteY6" fmla="*/ 942975 h 1804987"/>
              <a:gd name="connsiteX7" fmla="*/ 1404937 w 2005012"/>
              <a:gd name="connsiteY7" fmla="*/ 847725 h 1804987"/>
              <a:gd name="connsiteX8" fmla="*/ 1614487 w 2005012"/>
              <a:gd name="connsiteY8" fmla="*/ 690562 h 1804987"/>
              <a:gd name="connsiteX9" fmla="*/ 1828800 w 2005012"/>
              <a:gd name="connsiteY9" fmla="*/ 361950 h 1804987"/>
              <a:gd name="connsiteX10" fmla="*/ 2005012 w 2005012"/>
              <a:gd name="connsiteY10" fmla="*/ 0 h 1804987"/>
              <a:gd name="connsiteX0" fmla="*/ 0 w 2005012"/>
              <a:gd name="connsiteY0" fmla="*/ 1804987 h 1804987"/>
              <a:gd name="connsiteX1" fmla="*/ 0 w 2005012"/>
              <a:gd name="connsiteY1" fmla="*/ 1804987 h 1804987"/>
              <a:gd name="connsiteX2" fmla="*/ 438150 w 2005012"/>
              <a:gd name="connsiteY2" fmla="*/ 1614487 h 1804987"/>
              <a:gd name="connsiteX3" fmla="*/ 923925 w 2005012"/>
              <a:gd name="connsiteY3" fmla="*/ 1252537 h 1804987"/>
              <a:gd name="connsiteX4" fmla="*/ 1014412 w 2005012"/>
              <a:gd name="connsiteY4" fmla="*/ 1143000 h 1804987"/>
              <a:gd name="connsiteX5" fmla="*/ 1143000 w 2005012"/>
              <a:gd name="connsiteY5" fmla="*/ 1062037 h 1804987"/>
              <a:gd name="connsiteX6" fmla="*/ 1309687 w 2005012"/>
              <a:gd name="connsiteY6" fmla="*/ 911225 h 1804987"/>
              <a:gd name="connsiteX7" fmla="*/ 1404937 w 2005012"/>
              <a:gd name="connsiteY7" fmla="*/ 847725 h 1804987"/>
              <a:gd name="connsiteX8" fmla="*/ 1614487 w 2005012"/>
              <a:gd name="connsiteY8" fmla="*/ 690562 h 1804987"/>
              <a:gd name="connsiteX9" fmla="*/ 1828800 w 2005012"/>
              <a:gd name="connsiteY9" fmla="*/ 361950 h 1804987"/>
              <a:gd name="connsiteX10" fmla="*/ 2005012 w 2005012"/>
              <a:gd name="connsiteY10" fmla="*/ 0 h 1804987"/>
              <a:gd name="connsiteX0" fmla="*/ 0 w 2005012"/>
              <a:gd name="connsiteY0" fmla="*/ 1804987 h 1804987"/>
              <a:gd name="connsiteX1" fmla="*/ 0 w 2005012"/>
              <a:gd name="connsiteY1" fmla="*/ 1804987 h 1804987"/>
              <a:gd name="connsiteX2" fmla="*/ 438150 w 2005012"/>
              <a:gd name="connsiteY2" fmla="*/ 1614487 h 1804987"/>
              <a:gd name="connsiteX3" fmla="*/ 923925 w 2005012"/>
              <a:gd name="connsiteY3" fmla="*/ 1252537 h 1804987"/>
              <a:gd name="connsiteX4" fmla="*/ 1014412 w 2005012"/>
              <a:gd name="connsiteY4" fmla="*/ 1143000 h 1804987"/>
              <a:gd name="connsiteX5" fmla="*/ 1143000 w 2005012"/>
              <a:gd name="connsiteY5" fmla="*/ 1062037 h 1804987"/>
              <a:gd name="connsiteX6" fmla="*/ 1331912 w 2005012"/>
              <a:gd name="connsiteY6" fmla="*/ 952500 h 1804987"/>
              <a:gd name="connsiteX7" fmla="*/ 1404937 w 2005012"/>
              <a:gd name="connsiteY7" fmla="*/ 847725 h 1804987"/>
              <a:gd name="connsiteX8" fmla="*/ 1614487 w 2005012"/>
              <a:gd name="connsiteY8" fmla="*/ 690562 h 1804987"/>
              <a:gd name="connsiteX9" fmla="*/ 1828800 w 2005012"/>
              <a:gd name="connsiteY9" fmla="*/ 361950 h 1804987"/>
              <a:gd name="connsiteX10" fmla="*/ 2005012 w 2005012"/>
              <a:gd name="connsiteY10" fmla="*/ 0 h 180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05012" h="1804987">
                <a:moveTo>
                  <a:pt x="0" y="1804987"/>
                </a:moveTo>
                <a:lnTo>
                  <a:pt x="0" y="1804987"/>
                </a:lnTo>
                <a:lnTo>
                  <a:pt x="438150" y="1614487"/>
                </a:lnTo>
                <a:lnTo>
                  <a:pt x="923925" y="1252537"/>
                </a:lnTo>
                <a:lnTo>
                  <a:pt x="1014412" y="1143000"/>
                </a:lnTo>
                <a:lnTo>
                  <a:pt x="1143000" y="1062037"/>
                </a:lnTo>
                <a:lnTo>
                  <a:pt x="1331912" y="952500"/>
                </a:lnTo>
                <a:lnTo>
                  <a:pt x="1404937" y="847725"/>
                </a:lnTo>
                <a:lnTo>
                  <a:pt x="1614487" y="690562"/>
                </a:lnTo>
                <a:lnTo>
                  <a:pt x="1828800" y="361950"/>
                </a:lnTo>
                <a:lnTo>
                  <a:pt x="2005012"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ihandform: Form 33">
            <a:extLst>
              <a:ext uri="{FF2B5EF4-FFF2-40B4-BE49-F238E27FC236}">
                <a16:creationId xmlns:a16="http://schemas.microsoft.com/office/drawing/2014/main" id="{CB67BE28-A4DE-78F5-AD3A-39013F614B64}"/>
              </a:ext>
            </a:extLst>
          </p:cNvPr>
          <p:cNvSpPr/>
          <p:nvPr/>
        </p:nvSpPr>
        <p:spPr>
          <a:xfrm>
            <a:off x="5258015" y="4345979"/>
            <a:ext cx="2052637" cy="755075"/>
          </a:xfrm>
          <a:custGeom>
            <a:avLst/>
            <a:gdLst>
              <a:gd name="connsiteX0" fmla="*/ 0 w 2052637"/>
              <a:gd name="connsiteY0" fmla="*/ 438150 h 762000"/>
              <a:gd name="connsiteX1" fmla="*/ 9525 w 2052637"/>
              <a:gd name="connsiteY1" fmla="*/ 762000 h 762000"/>
              <a:gd name="connsiteX2" fmla="*/ 2047875 w 2052637"/>
              <a:gd name="connsiteY2" fmla="*/ 762000 h 762000"/>
              <a:gd name="connsiteX3" fmla="*/ 2052637 w 2052637"/>
              <a:gd name="connsiteY3" fmla="*/ 19050 h 762000"/>
              <a:gd name="connsiteX4" fmla="*/ 1671637 w 2052637"/>
              <a:gd name="connsiteY4" fmla="*/ 0 h 762000"/>
              <a:gd name="connsiteX5" fmla="*/ 1352550 w 2052637"/>
              <a:gd name="connsiteY5" fmla="*/ 19050 h 762000"/>
              <a:gd name="connsiteX6" fmla="*/ 1033462 w 2052637"/>
              <a:gd name="connsiteY6" fmla="*/ 47625 h 762000"/>
              <a:gd name="connsiteX7" fmla="*/ 709612 w 2052637"/>
              <a:gd name="connsiteY7" fmla="*/ 176212 h 762000"/>
              <a:gd name="connsiteX8" fmla="*/ 0 w 2052637"/>
              <a:gd name="connsiteY8" fmla="*/ 4381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637" h="762000">
                <a:moveTo>
                  <a:pt x="0" y="438150"/>
                </a:moveTo>
                <a:lnTo>
                  <a:pt x="9525" y="762000"/>
                </a:lnTo>
                <a:lnTo>
                  <a:pt x="2047875" y="762000"/>
                </a:lnTo>
                <a:cubicBezTo>
                  <a:pt x="2049462" y="514350"/>
                  <a:pt x="2051050" y="266700"/>
                  <a:pt x="2052637" y="19050"/>
                </a:cubicBezTo>
                <a:lnTo>
                  <a:pt x="1671637" y="0"/>
                </a:lnTo>
                <a:lnTo>
                  <a:pt x="1352550" y="19050"/>
                </a:lnTo>
                <a:lnTo>
                  <a:pt x="1033462" y="47625"/>
                </a:lnTo>
                <a:lnTo>
                  <a:pt x="709612" y="176212"/>
                </a:lnTo>
                <a:lnTo>
                  <a:pt x="0" y="438150"/>
                </a:lnTo>
                <a:close/>
              </a:path>
            </a:pathLst>
          </a:cu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5" name="Freihandform: Form 34">
            <a:extLst>
              <a:ext uri="{FF2B5EF4-FFF2-40B4-BE49-F238E27FC236}">
                <a16:creationId xmlns:a16="http://schemas.microsoft.com/office/drawing/2014/main" id="{D42A6A1F-D9B7-B4DF-F413-9DBECA9164CC}"/>
              </a:ext>
            </a:extLst>
          </p:cNvPr>
          <p:cNvSpPr/>
          <p:nvPr/>
        </p:nvSpPr>
        <p:spPr>
          <a:xfrm>
            <a:off x="5262777" y="4189439"/>
            <a:ext cx="2047875" cy="580119"/>
          </a:xfrm>
          <a:custGeom>
            <a:avLst/>
            <a:gdLst>
              <a:gd name="connsiteX0" fmla="*/ 0 w 2047875"/>
              <a:gd name="connsiteY0" fmla="*/ 600075 h 600075"/>
              <a:gd name="connsiteX1" fmla="*/ 0 w 2047875"/>
              <a:gd name="connsiteY1" fmla="*/ 600075 h 600075"/>
              <a:gd name="connsiteX2" fmla="*/ 871538 w 2047875"/>
              <a:gd name="connsiteY2" fmla="*/ 204787 h 600075"/>
              <a:gd name="connsiteX3" fmla="*/ 1023938 w 2047875"/>
              <a:gd name="connsiteY3" fmla="*/ 123825 h 600075"/>
              <a:gd name="connsiteX4" fmla="*/ 1281113 w 2047875"/>
              <a:gd name="connsiteY4" fmla="*/ 71437 h 600075"/>
              <a:gd name="connsiteX5" fmla="*/ 1562100 w 2047875"/>
              <a:gd name="connsiteY5" fmla="*/ 71437 h 600075"/>
              <a:gd name="connsiteX6" fmla="*/ 1771650 w 2047875"/>
              <a:gd name="connsiteY6" fmla="*/ 71437 h 600075"/>
              <a:gd name="connsiteX7" fmla="*/ 2047875 w 2047875"/>
              <a:gd name="connsiteY7" fmla="*/ 0 h 600075"/>
              <a:gd name="connsiteX8" fmla="*/ 2047875 w 2047875"/>
              <a:gd name="connsiteY8" fmla="*/ 185737 h 600075"/>
              <a:gd name="connsiteX9" fmla="*/ 1433513 w 2047875"/>
              <a:gd name="connsiteY9" fmla="*/ 204787 h 600075"/>
              <a:gd name="connsiteX10" fmla="*/ 1062038 w 2047875"/>
              <a:gd name="connsiteY10" fmla="*/ 271462 h 600075"/>
              <a:gd name="connsiteX11" fmla="*/ 590550 w 2047875"/>
              <a:gd name="connsiteY11" fmla="*/ 466725 h 600075"/>
              <a:gd name="connsiteX12" fmla="*/ 0 w 2047875"/>
              <a:gd name="connsiteY12" fmla="*/ 600075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7875" h="600075">
                <a:moveTo>
                  <a:pt x="0" y="600075"/>
                </a:moveTo>
                <a:lnTo>
                  <a:pt x="0" y="600075"/>
                </a:lnTo>
                <a:lnTo>
                  <a:pt x="871538" y="204787"/>
                </a:lnTo>
                <a:lnTo>
                  <a:pt x="1023938" y="123825"/>
                </a:lnTo>
                <a:lnTo>
                  <a:pt x="1281113" y="71437"/>
                </a:lnTo>
                <a:lnTo>
                  <a:pt x="1562100" y="71437"/>
                </a:lnTo>
                <a:lnTo>
                  <a:pt x="1771650" y="71437"/>
                </a:lnTo>
                <a:lnTo>
                  <a:pt x="2047875" y="0"/>
                </a:lnTo>
                <a:lnTo>
                  <a:pt x="2047875" y="185737"/>
                </a:lnTo>
                <a:lnTo>
                  <a:pt x="1433513" y="204787"/>
                </a:lnTo>
                <a:lnTo>
                  <a:pt x="1062038" y="271462"/>
                </a:lnTo>
                <a:lnTo>
                  <a:pt x="590550" y="466725"/>
                </a:lnTo>
                <a:lnTo>
                  <a:pt x="0" y="600075"/>
                </a:lnTo>
                <a:close/>
              </a:path>
            </a:pathLst>
          </a:cu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3" name="Freihandform: Form 32">
            <a:extLst>
              <a:ext uri="{FF2B5EF4-FFF2-40B4-BE49-F238E27FC236}">
                <a16:creationId xmlns:a16="http://schemas.microsoft.com/office/drawing/2014/main" id="{49837288-A256-5C2F-D28A-DEDA2627B81F}"/>
              </a:ext>
            </a:extLst>
          </p:cNvPr>
          <p:cNvSpPr/>
          <p:nvPr/>
        </p:nvSpPr>
        <p:spPr>
          <a:xfrm>
            <a:off x="5277065" y="4019086"/>
            <a:ext cx="1995487" cy="736659"/>
          </a:xfrm>
          <a:custGeom>
            <a:avLst/>
            <a:gdLst>
              <a:gd name="connsiteX0" fmla="*/ 0 w 1995487"/>
              <a:gd name="connsiteY0" fmla="*/ 762000 h 762000"/>
              <a:gd name="connsiteX1" fmla="*/ 619125 w 1995487"/>
              <a:gd name="connsiteY1" fmla="*/ 542925 h 762000"/>
              <a:gd name="connsiteX2" fmla="*/ 947737 w 1995487"/>
              <a:gd name="connsiteY2" fmla="*/ 423863 h 762000"/>
              <a:gd name="connsiteX3" fmla="*/ 1171575 w 1995487"/>
              <a:gd name="connsiteY3" fmla="*/ 395288 h 762000"/>
              <a:gd name="connsiteX4" fmla="*/ 1452562 w 1995487"/>
              <a:gd name="connsiteY4" fmla="*/ 376238 h 762000"/>
              <a:gd name="connsiteX5" fmla="*/ 1743075 w 1995487"/>
              <a:gd name="connsiteY5" fmla="*/ 214313 h 762000"/>
              <a:gd name="connsiteX6" fmla="*/ 1995487 w 1995487"/>
              <a:gd name="connsiteY6"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5487" h="762000">
                <a:moveTo>
                  <a:pt x="0" y="762000"/>
                </a:moveTo>
                <a:lnTo>
                  <a:pt x="619125" y="542925"/>
                </a:lnTo>
                <a:lnTo>
                  <a:pt x="947737" y="423863"/>
                </a:lnTo>
                <a:lnTo>
                  <a:pt x="1171575" y="395288"/>
                </a:lnTo>
                <a:lnTo>
                  <a:pt x="1452562" y="376238"/>
                </a:lnTo>
                <a:lnTo>
                  <a:pt x="1743075" y="214313"/>
                </a:lnTo>
                <a:lnTo>
                  <a:pt x="1995487" y="0"/>
                </a:lnTo>
              </a:path>
            </a:pathLst>
          </a:custGeom>
          <a:noFill/>
          <a:ln w="19050">
            <a:solidFill>
              <a:srgbClr val="FFD7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5" name="Gerader Verbinder 64">
            <a:extLst>
              <a:ext uri="{FF2B5EF4-FFF2-40B4-BE49-F238E27FC236}">
                <a16:creationId xmlns:a16="http://schemas.microsoft.com/office/drawing/2014/main" id="{0165953C-5825-36F5-7852-D48F2F58B21C}"/>
              </a:ext>
            </a:extLst>
          </p:cNvPr>
          <p:cNvCxnSpPr>
            <a:cxnSpLocks/>
          </p:cNvCxnSpPr>
          <p:nvPr/>
        </p:nvCxnSpPr>
        <p:spPr>
          <a:xfrm>
            <a:off x="9504624" y="3813376"/>
            <a:ext cx="2203301"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3D932B30-D77A-53F6-FE5F-4FBCEDB66289}"/>
              </a:ext>
            </a:extLst>
          </p:cNvPr>
          <p:cNvCxnSpPr>
            <a:cxnSpLocks/>
          </p:cNvCxnSpPr>
          <p:nvPr/>
        </p:nvCxnSpPr>
        <p:spPr>
          <a:xfrm>
            <a:off x="9504624" y="4457952"/>
            <a:ext cx="2203301"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37" name="Freihandform: Form 36">
            <a:extLst>
              <a:ext uri="{FF2B5EF4-FFF2-40B4-BE49-F238E27FC236}">
                <a16:creationId xmlns:a16="http://schemas.microsoft.com/office/drawing/2014/main" id="{68AC1AFC-CD03-73E2-EF8F-C0EB08452924}"/>
              </a:ext>
            </a:extLst>
          </p:cNvPr>
          <p:cNvSpPr/>
          <p:nvPr/>
        </p:nvSpPr>
        <p:spPr>
          <a:xfrm>
            <a:off x="9685596" y="3777992"/>
            <a:ext cx="1924050" cy="524870"/>
          </a:xfrm>
          <a:custGeom>
            <a:avLst/>
            <a:gdLst>
              <a:gd name="connsiteX0" fmla="*/ 1919288 w 1924050"/>
              <a:gd name="connsiteY0" fmla="*/ 390525 h 542925"/>
              <a:gd name="connsiteX1" fmla="*/ 1924050 w 1924050"/>
              <a:gd name="connsiteY1" fmla="*/ 80963 h 542925"/>
              <a:gd name="connsiteX2" fmla="*/ 1423988 w 1924050"/>
              <a:gd name="connsiteY2" fmla="*/ 52388 h 542925"/>
              <a:gd name="connsiteX3" fmla="*/ 1266825 w 1924050"/>
              <a:gd name="connsiteY3" fmla="*/ 61913 h 542925"/>
              <a:gd name="connsiteX4" fmla="*/ 1166813 w 1924050"/>
              <a:gd name="connsiteY4" fmla="*/ 114300 h 542925"/>
              <a:gd name="connsiteX5" fmla="*/ 904875 w 1924050"/>
              <a:gd name="connsiteY5" fmla="*/ 157163 h 542925"/>
              <a:gd name="connsiteX6" fmla="*/ 519113 w 1924050"/>
              <a:gd name="connsiteY6" fmla="*/ 0 h 542925"/>
              <a:gd name="connsiteX7" fmla="*/ 285750 w 1924050"/>
              <a:gd name="connsiteY7" fmla="*/ 142875 h 542925"/>
              <a:gd name="connsiteX8" fmla="*/ 80963 w 1924050"/>
              <a:gd name="connsiteY8" fmla="*/ 390525 h 542925"/>
              <a:gd name="connsiteX9" fmla="*/ 0 w 1924050"/>
              <a:gd name="connsiteY9" fmla="*/ 542925 h 542925"/>
              <a:gd name="connsiteX10" fmla="*/ 442913 w 1924050"/>
              <a:gd name="connsiteY10" fmla="*/ 481013 h 542925"/>
              <a:gd name="connsiteX11" fmla="*/ 1909763 w 1924050"/>
              <a:gd name="connsiteY11" fmla="*/ 504825 h 542925"/>
              <a:gd name="connsiteX12" fmla="*/ 1919288 w 1924050"/>
              <a:gd name="connsiteY12" fmla="*/ 390525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24050" h="542925">
                <a:moveTo>
                  <a:pt x="1919288" y="390525"/>
                </a:moveTo>
                <a:cubicBezTo>
                  <a:pt x="1920875" y="287338"/>
                  <a:pt x="1922463" y="184150"/>
                  <a:pt x="1924050" y="80963"/>
                </a:cubicBezTo>
                <a:lnTo>
                  <a:pt x="1423988" y="52388"/>
                </a:lnTo>
                <a:lnTo>
                  <a:pt x="1266825" y="61913"/>
                </a:lnTo>
                <a:lnTo>
                  <a:pt x="1166813" y="114300"/>
                </a:lnTo>
                <a:lnTo>
                  <a:pt x="904875" y="157163"/>
                </a:lnTo>
                <a:lnTo>
                  <a:pt x="519113" y="0"/>
                </a:lnTo>
                <a:lnTo>
                  <a:pt x="285750" y="142875"/>
                </a:lnTo>
                <a:lnTo>
                  <a:pt x="80963" y="390525"/>
                </a:lnTo>
                <a:lnTo>
                  <a:pt x="0" y="542925"/>
                </a:lnTo>
                <a:lnTo>
                  <a:pt x="442913" y="481013"/>
                </a:lnTo>
                <a:lnTo>
                  <a:pt x="1909763" y="504825"/>
                </a:lnTo>
                <a:lnTo>
                  <a:pt x="1919288" y="390525"/>
                </a:lnTo>
                <a:close/>
              </a:path>
            </a:pathLst>
          </a:cu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6" name="Freihandform: Form 35">
            <a:extLst>
              <a:ext uri="{FF2B5EF4-FFF2-40B4-BE49-F238E27FC236}">
                <a16:creationId xmlns:a16="http://schemas.microsoft.com/office/drawing/2014/main" id="{B56FA67E-C90E-A87D-BC87-8D9CE8B2F240}"/>
              </a:ext>
            </a:extLst>
          </p:cNvPr>
          <p:cNvSpPr/>
          <p:nvPr/>
        </p:nvSpPr>
        <p:spPr>
          <a:xfrm>
            <a:off x="9568121" y="4100280"/>
            <a:ext cx="2041525" cy="1049739"/>
          </a:xfrm>
          <a:custGeom>
            <a:avLst/>
            <a:gdLst>
              <a:gd name="connsiteX0" fmla="*/ 0 w 2041525"/>
              <a:gd name="connsiteY0" fmla="*/ 187325 h 1085850"/>
              <a:gd name="connsiteX1" fmla="*/ 3175 w 2041525"/>
              <a:gd name="connsiteY1" fmla="*/ 1085850 h 1085850"/>
              <a:gd name="connsiteX2" fmla="*/ 2028825 w 2041525"/>
              <a:gd name="connsiteY2" fmla="*/ 1085850 h 1085850"/>
              <a:gd name="connsiteX3" fmla="*/ 2041525 w 2041525"/>
              <a:gd name="connsiteY3" fmla="*/ 66675 h 1085850"/>
              <a:gd name="connsiteX4" fmla="*/ 1885950 w 2041525"/>
              <a:gd name="connsiteY4" fmla="*/ 73025 h 1085850"/>
              <a:gd name="connsiteX5" fmla="*/ 1622425 w 2041525"/>
              <a:gd name="connsiteY5" fmla="*/ 69850 h 1085850"/>
              <a:gd name="connsiteX6" fmla="*/ 1422400 w 2041525"/>
              <a:gd name="connsiteY6" fmla="*/ 53975 h 1085850"/>
              <a:gd name="connsiteX7" fmla="*/ 1196975 w 2041525"/>
              <a:gd name="connsiteY7" fmla="*/ 104775 h 1085850"/>
              <a:gd name="connsiteX8" fmla="*/ 1006475 w 2041525"/>
              <a:gd name="connsiteY8" fmla="*/ 136525 h 1085850"/>
              <a:gd name="connsiteX9" fmla="*/ 603250 w 2041525"/>
              <a:gd name="connsiteY9" fmla="*/ 0 h 1085850"/>
              <a:gd name="connsiteX10" fmla="*/ 393700 w 2041525"/>
              <a:gd name="connsiteY10" fmla="*/ 130175 h 1085850"/>
              <a:gd name="connsiteX11" fmla="*/ 206375 w 2041525"/>
              <a:gd name="connsiteY11" fmla="*/ 82550 h 1085850"/>
              <a:gd name="connsiteX12" fmla="*/ 0 w 2041525"/>
              <a:gd name="connsiteY12" fmla="*/ 187325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1525" h="1085850">
                <a:moveTo>
                  <a:pt x="0" y="187325"/>
                </a:moveTo>
                <a:cubicBezTo>
                  <a:pt x="1058" y="486833"/>
                  <a:pt x="2117" y="786342"/>
                  <a:pt x="3175" y="1085850"/>
                </a:cubicBezTo>
                <a:lnTo>
                  <a:pt x="2028825" y="1085850"/>
                </a:lnTo>
                <a:lnTo>
                  <a:pt x="2041525" y="66675"/>
                </a:lnTo>
                <a:lnTo>
                  <a:pt x="1885950" y="73025"/>
                </a:lnTo>
                <a:lnTo>
                  <a:pt x="1622425" y="69850"/>
                </a:lnTo>
                <a:lnTo>
                  <a:pt x="1422400" y="53975"/>
                </a:lnTo>
                <a:lnTo>
                  <a:pt x="1196975" y="104775"/>
                </a:lnTo>
                <a:lnTo>
                  <a:pt x="1006475" y="136525"/>
                </a:lnTo>
                <a:lnTo>
                  <a:pt x="603250" y="0"/>
                </a:lnTo>
                <a:lnTo>
                  <a:pt x="393700" y="130175"/>
                </a:lnTo>
                <a:lnTo>
                  <a:pt x="206375" y="82550"/>
                </a:lnTo>
                <a:lnTo>
                  <a:pt x="0" y="187325"/>
                </a:lnTo>
                <a:close/>
              </a:path>
            </a:pathLst>
          </a:cu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38" name="Freihandform: Form 37">
            <a:extLst>
              <a:ext uri="{FF2B5EF4-FFF2-40B4-BE49-F238E27FC236}">
                <a16:creationId xmlns:a16="http://schemas.microsoft.com/office/drawing/2014/main" id="{DA77410E-39DC-2DD6-130E-D9CC4D106AF3}"/>
              </a:ext>
            </a:extLst>
          </p:cNvPr>
          <p:cNvSpPr/>
          <p:nvPr/>
        </p:nvSpPr>
        <p:spPr>
          <a:xfrm>
            <a:off x="9557009" y="3635265"/>
            <a:ext cx="2047875" cy="732055"/>
          </a:xfrm>
          <a:custGeom>
            <a:avLst/>
            <a:gdLst>
              <a:gd name="connsiteX0" fmla="*/ 0 w 2047875"/>
              <a:gd name="connsiteY0" fmla="*/ 757237 h 757237"/>
              <a:gd name="connsiteX1" fmla="*/ 404812 w 2047875"/>
              <a:gd name="connsiteY1" fmla="*/ 628650 h 757237"/>
              <a:gd name="connsiteX2" fmla="*/ 647700 w 2047875"/>
              <a:gd name="connsiteY2" fmla="*/ 485775 h 757237"/>
              <a:gd name="connsiteX3" fmla="*/ 995362 w 2047875"/>
              <a:gd name="connsiteY3" fmla="*/ 252412 h 757237"/>
              <a:gd name="connsiteX4" fmla="*/ 1462087 w 2047875"/>
              <a:gd name="connsiteY4" fmla="*/ 261937 h 757237"/>
              <a:gd name="connsiteX5" fmla="*/ 1719262 w 2047875"/>
              <a:gd name="connsiteY5" fmla="*/ 109537 h 757237"/>
              <a:gd name="connsiteX6" fmla="*/ 2047875 w 2047875"/>
              <a:gd name="connsiteY6" fmla="*/ 0 h 75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7875" h="757237">
                <a:moveTo>
                  <a:pt x="0" y="757237"/>
                </a:moveTo>
                <a:lnTo>
                  <a:pt x="404812" y="628650"/>
                </a:lnTo>
                <a:lnTo>
                  <a:pt x="647700" y="485775"/>
                </a:lnTo>
                <a:lnTo>
                  <a:pt x="995362" y="252412"/>
                </a:lnTo>
                <a:lnTo>
                  <a:pt x="1462087" y="261937"/>
                </a:lnTo>
                <a:lnTo>
                  <a:pt x="1719262" y="109537"/>
                </a:lnTo>
                <a:lnTo>
                  <a:pt x="2047875" y="0"/>
                </a:lnTo>
              </a:path>
            </a:pathLst>
          </a:custGeom>
          <a:noFill/>
          <a:ln w="19050">
            <a:solidFill>
              <a:srgbClr val="FFD7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ihandform: Form 39">
            <a:extLst>
              <a:ext uri="{FF2B5EF4-FFF2-40B4-BE49-F238E27FC236}">
                <a16:creationId xmlns:a16="http://schemas.microsoft.com/office/drawing/2014/main" id="{A25039B8-5999-DD8E-B380-36912AFB6092}"/>
              </a:ext>
            </a:extLst>
          </p:cNvPr>
          <p:cNvSpPr/>
          <p:nvPr/>
        </p:nvSpPr>
        <p:spPr>
          <a:xfrm>
            <a:off x="9561771" y="2654587"/>
            <a:ext cx="2014538" cy="1703524"/>
          </a:xfrm>
          <a:custGeom>
            <a:avLst/>
            <a:gdLst>
              <a:gd name="connsiteX0" fmla="*/ 0 w 2014538"/>
              <a:gd name="connsiteY0" fmla="*/ 1762125 h 1762125"/>
              <a:gd name="connsiteX1" fmla="*/ 366713 w 2014538"/>
              <a:gd name="connsiteY1" fmla="*/ 1585913 h 1762125"/>
              <a:gd name="connsiteX2" fmla="*/ 642938 w 2014538"/>
              <a:gd name="connsiteY2" fmla="*/ 1352550 h 1762125"/>
              <a:gd name="connsiteX3" fmla="*/ 823913 w 2014538"/>
              <a:gd name="connsiteY3" fmla="*/ 1162050 h 1762125"/>
              <a:gd name="connsiteX4" fmla="*/ 971550 w 2014538"/>
              <a:gd name="connsiteY4" fmla="*/ 933450 h 1762125"/>
              <a:gd name="connsiteX5" fmla="*/ 1009650 w 2014538"/>
              <a:gd name="connsiteY5" fmla="*/ 847725 h 1762125"/>
              <a:gd name="connsiteX6" fmla="*/ 1062038 w 2014538"/>
              <a:gd name="connsiteY6" fmla="*/ 785813 h 1762125"/>
              <a:gd name="connsiteX7" fmla="*/ 1243013 w 2014538"/>
              <a:gd name="connsiteY7" fmla="*/ 728663 h 1762125"/>
              <a:gd name="connsiteX8" fmla="*/ 1362075 w 2014538"/>
              <a:gd name="connsiteY8" fmla="*/ 619125 h 1762125"/>
              <a:gd name="connsiteX9" fmla="*/ 1433513 w 2014538"/>
              <a:gd name="connsiteY9" fmla="*/ 533400 h 1762125"/>
              <a:gd name="connsiteX10" fmla="*/ 1619250 w 2014538"/>
              <a:gd name="connsiteY10" fmla="*/ 447675 h 1762125"/>
              <a:gd name="connsiteX11" fmla="*/ 2014538 w 2014538"/>
              <a:gd name="connsiteY11" fmla="*/ 0 h 176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4538" h="1762125">
                <a:moveTo>
                  <a:pt x="0" y="1762125"/>
                </a:moveTo>
                <a:lnTo>
                  <a:pt x="366713" y="1585913"/>
                </a:lnTo>
                <a:lnTo>
                  <a:pt x="642938" y="1352550"/>
                </a:lnTo>
                <a:lnTo>
                  <a:pt x="823913" y="1162050"/>
                </a:lnTo>
                <a:lnTo>
                  <a:pt x="971550" y="933450"/>
                </a:lnTo>
                <a:lnTo>
                  <a:pt x="1009650" y="847725"/>
                </a:lnTo>
                <a:lnTo>
                  <a:pt x="1062038" y="785813"/>
                </a:lnTo>
                <a:lnTo>
                  <a:pt x="1243013" y="728663"/>
                </a:lnTo>
                <a:lnTo>
                  <a:pt x="1362075" y="619125"/>
                </a:lnTo>
                <a:lnTo>
                  <a:pt x="1433513" y="533400"/>
                </a:lnTo>
                <a:lnTo>
                  <a:pt x="1619250" y="447675"/>
                </a:lnTo>
                <a:lnTo>
                  <a:pt x="2014538"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11">
            <a:extLst>
              <a:ext uri="{FF2B5EF4-FFF2-40B4-BE49-F238E27FC236}">
                <a16:creationId xmlns:a16="http://schemas.microsoft.com/office/drawing/2014/main" id="{8E0E9506-8AF7-A0DA-652D-9C1C68C05F87}"/>
              </a:ext>
            </a:extLst>
          </p:cNvPr>
          <p:cNvSpPr txBox="1">
            <a:spLocks/>
          </p:cNvSpPr>
          <p:nvPr/>
        </p:nvSpPr>
        <p:spPr>
          <a:xfrm>
            <a:off x="9410666"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0</a:t>
            </a:r>
          </a:p>
        </p:txBody>
      </p:sp>
      <p:sp>
        <p:nvSpPr>
          <p:cNvPr id="48" name="TextBox 11">
            <a:extLst>
              <a:ext uri="{FF2B5EF4-FFF2-40B4-BE49-F238E27FC236}">
                <a16:creationId xmlns:a16="http://schemas.microsoft.com/office/drawing/2014/main" id="{8819EAC2-E84B-7942-77CE-7F445136C78E}"/>
              </a:ext>
            </a:extLst>
          </p:cNvPr>
          <p:cNvSpPr txBox="1">
            <a:spLocks/>
          </p:cNvSpPr>
          <p:nvPr/>
        </p:nvSpPr>
        <p:spPr>
          <a:xfrm>
            <a:off x="9828836"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2</a:t>
            </a:r>
          </a:p>
        </p:txBody>
      </p:sp>
      <p:sp>
        <p:nvSpPr>
          <p:cNvPr id="49" name="TextBox 11">
            <a:extLst>
              <a:ext uri="{FF2B5EF4-FFF2-40B4-BE49-F238E27FC236}">
                <a16:creationId xmlns:a16="http://schemas.microsoft.com/office/drawing/2014/main" id="{D2B63873-8F0C-5548-0A76-6CBA352136F4}"/>
              </a:ext>
            </a:extLst>
          </p:cNvPr>
          <p:cNvSpPr txBox="1">
            <a:spLocks/>
          </p:cNvSpPr>
          <p:nvPr/>
        </p:nvSpPr>
        <p:spPr>
          <a:xfrm>
            <a:off x="10221617"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4</a:t>
            </a:r>
          </a:p>
        </p:txBody>
      </p:sp>
      <p:sp>
        <p:nvSpPr>
          <p:cNvPr id="50" name="TextBox 11">
            <a:extLst>
              <a:ext uri="{FF2B5EF4-FFF2-40B4-BE49-F238E27FC236}">
                <a16:creationId xmlns:a16="http://schemas.microsoft.com/office/drawing/2014/main" id="{C24D2C2A-8DFC-1C83-BE61-578129A70584}"/>
              </a:ext>
            </a:extLst>
          </p:cNvPr>
          <p:cNvSpPr txBox="1">
            <a:spLocks/>
          </p:cNvSpPr>
          <p:nvPr/>
        </p:nvSpPr>
        <p:spPr>
          <a:xfrm>
            <a:off x="10630273"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6</a:t>
            </a:r>
          </a:p>
        </p:txBody>
      </p:sp>
      <p:sp>
        <p:nvSpPr>
          <p:cNvPr id="51" name="TextBox 11">
            <a:extLst>
              <a:ext uri="{FF2B5EF4-FFF2-40B4-BE49-F238E27FC236}">
                <a16:creationId xmlns:a16="http://schemas.microsoft.com/office/drawing/2014/main" id="{6763B312-1B0A-8B61-ED04-6F99CDA3E05A}"/>
              </a:ext>
            </a:extLst>
          </p:cNvPr>
          <p:cNvSpPr txBox="1">
            <a:spLocks/>
          </p:cNvSpPr>
          <p:nvPr/>
        </p:nvSpPr>
        <p:spPr>
          <a:xfrm>
            <a:off x="11023054"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28</a:t>
            </a:r>
          </a:p>
        </p:txBody>
      </p:sp>
      <p:sp>
        <p:nvSpPr>
          <p:cNvPr id="52" name="TextBox 11">
            <a:extLst>
              <a:ext uri="{FF2B5EF4-FFF2-40B4-BE49-F238E27FC236}">
                <a16:creationId xmlns:a16="http://schemas.microsoft.com/office/drawing/2014/main" id="{2B2696CC-9B22-06CE-F658-20C5554FD346}"/>
              </a:ext>
            </a:extLst>
          </p:cNvPr>
          <p:cNvSpPr txBox="1">
            <a:spLocks/>
          </p:cNvSpPr>
          <p:nvPr/>
        </p:nvSpPr>
        <p:spPr>
          <a:xfrm>
            <a:off x="11441224" y="5207581"/>
            <a:ext cx="266701"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30</a:t>
            </a:r>
          </a:p>
        </p:txBody>
      </p:sp>
      <p:cxnSp>
        <p:nvCxnSpPr>
          <p:cNvPr id="66" name="Gerader Verbinder 65">
            <a:extLst>
              <a:ext uri="{FF2B5EF4-FFF2-40B4-BE49-F238E27FC236}">
                <a16:creationId xmlns:a16="http://schemas.microsoft.com/office/drawing/2014/main" id="{86E128EC-8406-3A18-24D5-687AC6C7957A}"/>
              </a:ext>
            </a:extLst>
          </p:cNvPr>
          <p:cNvCxnSpPr>
            <a:cxnSpLocks/>
          </p:cNvCxnSpPr>
          <p:nvPr/>
        </p:nvCxnSpPr>
        <p:spPr>
          <a:xfrm>
            <a:off x="9504624" y="3205632"/>
            <a:ext cx="2203301"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48782DA5-82F1-E38B-B1CC-A4F70483C3DC}"/>
              </a:ext>
            </a:extLst>
          </p:cNvPr>
          <p:cNvCxnSpPr>
            <a:cxnSpLocks/>
          </p:cNvCxnSpPr>
          <p:nvPr/>
        </p:nvCxnSpPr>
        <p:spPr>
          <a:xfrm>
            <a:off x="9504624" y="2551842"/>
            <a:ext cx="2203301" cy="0"/>
          </a:xfrm>
          <a:prstGeom prst="line">
            <a:avLst/>
          </a:prstGeom>
          <a:ln w="9525">
            <a:solidFill>
              <a:srgbClr val="CCCCD4"/>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69" name="TextBox 11">
            <a:extLst>
              <a:ext uri="{FF2B5EF4-FFF2-40B4-BE49-F238E27FC236}">
                <a16:creationId xmlns:a16="http://schemas.microsoft.com/office/drawing/2014/main" id="{7E2BF0A0-37BB-3FB2-33CC-EE3D6122958E}"/>
              </a:ext>
            </a:extLst>
          </p:cNvPr>
          <p:cNvSpPr txBox="1">
            <a:spLocks/>
          </p:cNvSpPr>
          <p:nvPr/>
        </p:nvSpPr>
        <p:spPr>
          <a:xfrm>
            <a:off x="9248454" y="2477314"/>
            <a:ext cx="196326"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400</a:t>
            </a:r>
          </a:p>
        </p:txBody>
      </p:sp>
      <p:sp>
        <p:nvSpPr>
          <p:cNvPr id="70" name="TextBox 11">
            <a:extLst>
              <a:ext uri="{FF2B5EF4-FFF2-40B4-BE49-F238E27FC236}">
                <a16:creationId xmlns:a16="http://schemas.microsoft.com/office/drawing/2014/main" id="{C4B7D9D7-9059-313E-7D3C-C11ABC5F548F}"/>
              </a:ext>
            </a:extLst>
          </p:cNvPr>
          <p:cNvSpPr txBox="1">
            <a:spLocks/>
          </p:cNvSpPr>
          <p:nvPr/>
        </p:nvSpPr>
        <p:spPr>
          <a:xfrm>
            <a:off x="9248454" y="3127351"/>
            <a:ext cx="196326"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300</a:t>
            </a:r>
          </a:p>
        </p:txBody>
      </p:sp>
      <p:sp>
        <p:nvSpPr>
          <p:cNvPr id="71" name="TextBox 11">
            <a:extLst>
              <a:ext uri="{FF2B5EF4-FFF2-40B4-BE49-F238E27FC236}">
                <a16:creationId xmlns:a16="http://schemas.microsoft.com/office/drawing/2014/main" id="{14D32232-2007-BB19-3476-5F9034AF0C49}"/>
              </a:ext>
            </a:extLst>
          </p:cNvPr>
          <p:cNvSpPr txBox="1">
            <a:spLocks/>
          </p:cNvSpPr>
          <p:nvPr/>
        </p:nvSpPr>
        <p:spPr>
          <a:xfrm>
            <a:off x="9248455" y="3738848"/>
            <a:ext cx="196326"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200</a:t>
            </a:r>
          </a:p>
        </p:txBody>
      </p:sp>
      <p:sp>
        <p:nvSpPr>
          <p:cNvPr id="72" name="TextBox 11">
            <a:extLst>
              <a:ext uri="{FF2B5EF4-FFF2-40B4-BE49-F238E27FC236}">
                <a16:creationId xmlns:a16="http://schemas.microsoft.com/office/drawing/2014/main" id="{EDDA5FC7-D2FD-97D0-C606-C449E0475BC9}"/>
              </a:ext>
            </a:extLst>
          </p:cNvPr>
          <p:cNvSpPr txBox="1">
            <a:spLocks/>
          </p:cNvSpPr>
          <p:nvPr/>
        </p:nvSpPr>
        <p:spPr>
          <a:xfrm>
            <a:off x="9248455" y="4383423"/>
            <a:ext cx="196326"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100</a:t>
            </a:r>
          </a:p>
        </p:txBody>
      </p:sp>
      <p:sp>
        <p:nvSpPr>
          <p:cNvPr id="73" name="TextBox 11">
            <a:extLst>
              <a:ext uri="{FF2B5EF4-FFF2-40B4-BE49-F238E27FC236}">
                <a16:creationId xmlns:a16="http://schemas.microsoft.com/office/drawing/2014/main" id="{E5E1DE9C-AA8D-E2A9-D0B9-817C4B4DC40B}"/>
              </a:ext>
            </a:extLst>
          </p:cNvPr>
          <p:cNvSpPr txBox="1">
            <a:spLocks/>
          </p:cNvSpPr>
          <p:nvPr/>
        </p:nvSpPr>
        <p:spPr>
          <a:xfrm>
            <a:off x="9374136" y="5001825"/>
            <a:ext cx="70644" cy="149056"/>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lumMod val="85000"/>
                  </a:schemeClr>
                </a:solidFill>
              </a:rPr>
              <a:t>0</a:t>
            </a:r>
          </a:p>
        </p:txBody>
      </p:sp>
      <p:sp>
        <p:nvSpPr>
          <p:cNvPr id="74" name="TextBox 11">
            <a:extLst>
              <a:ext uri="{FF2B5EF4-FFF2-40B4-BE49-F238E27FC236}">
                <a16:creationId xmlns:a16="http://schemas.microsoft.com/office/drawing/2014/main" id="{50B1BDE9-2B47-E906-C268-9F3A583F646C}"/>
              </a:ext>
            </a:extLst>
          </p:cNvPr>
          <p:cNvSpPr txBox="1">
            <a:spLocks/>
          </p:cNvSpPr>
          <p:nvPr/>
        </p:nvSpPr>
        <p:spPr>
          <a:xfrm rot="16200000">
            <a:off x="8989288" y="2481661"/>
            <a:ext cx="149056" cy="154184"/>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gn="r">
              <a:lnSpc>
                <a:spcPct val="100000"/>
              </a:lnSpc>
            </a:pPr>
            <a:r>
              <a:rPr lang="en-US" sz="900">
                <a:solidFill>
                  <a:schemeClr val="bg1">
                    <a:lumMod val="85000"/>
                  </a:schemeClr>
                </a:solidFill>
              </a:rPr>
              <a:t>Kt</a:t>
            </a:r>
          </a:p>
        </p:txBody>
      </p:sp>
      <p:sp>
        <p:nvSpPr>
          <p:cNvPr id="98" name="Textfeld 97">
            <a:extLst>
              <a:ext uri="{FF2B5EF4-FFF2-40B4-BE49-F238E27FC236}">
                <a16:creationId xmlns:a16="http://schemas.microsoft.com/office/drawing/2014/main" id="{041653BD-A1A2-C6A7-8351-A72B8D2A2842}"/>
              </a:ext>
            </a:extLst>
          </p:cNvPr>
          <p:cNvSpPr txBox="1">
            <a:spLocks/>
          </p:cNvSpPr>
          <p:nvPr/>
        </p:nvSpPr>
        <p:spPr>
          <a:xfrm>
            <a:off x="420688" y="1673713"/>
            <a:ext cx="1744662" cy="430887"/>
          </a:xfrm>
          <a:prstGeom prst="rect">
            <a:avLst/>
          </a:prstGeom>
          <a:noFill/>
        </p:spPr>
        <p:txBody>
          <a:bodyPr wrap="square" lIns="0" tIns="0" rIns="0" bIns="0">
            <a:spAutoFit/>
          </a:bodyPr>
          <a:lstStyle/>
          <a:p>
            <a:pPr rtl="0">
              <a:defRPr sz="1400" b="1" i="0" u="none" strike="noStrike" kern="1200" spc="0" baseline="0">
                <a:solidFill>
                  <a:prstClr val="white">
                    <a:lumMod val="85000"/>
                  </a:prstClr>
                </a:solidFill>
                <a:latin typeface="+mn-lt"/>
                <a:ea typeface="+mn-ea"/>
                <a:cs typeface="+mn-cs"/>
              </a:defRPr>
            </a:pPr>
            <a:r>
              <a:rPr lang="en-US" sz="2800">
                <a:gradFill>
                  <a:gsLst>
                    <a:gs pos="0">
                      <a:srgbClr val="00FFB9"/>
                    </a:gs>
                    <a:gs pos="100000">
                      <a:srgbClr val="00E6DC"/>
                    </a:gs>
                  </a:gsLst>
                  <a:lin ang="0" scaled="0"/>
                </a:gradFill>
              </a:rPr>
              <a:t>Copper</a:t>
            </a:r>
          </a:p>
        </p:txBody>
      </p:sp>
      <p:sp>
        <p:nvSpPr>
          <p:cNvPr id="101" name="Textfeld 100">
            <a:extLst>
              <a:ext uri="{FF2B5EF4-FFF2-40B4-BE49-F238E27FC236}">
                <a16:creationId xmlns:a16="http://schemas.microsoft.com/office/drawing/2014/main" id="{529763F1-EBF2-0494-E967-F9517D07E011}"/>
              </a:ext>
            </a:extLst>
          </p:cNvPr>
          <p:cNvSpPr txBox="1">
            <a:spLocks/>
          </p:cNvSpPr>
          <p:nvPr/>
        </p:nvSpPr>
        <p:spPr>
          <a:xfrm>
            <a:off x="4645765" y="1673713"/>
            <a:ext cx="1744662" cy="430887"/>
          </a:xfrm>
          <a:prstGeom prst="rect">
            <a:avLst/>
          </a:prstGeom>
          <a:noFill/>
        </p:spPr>
        <p:txBody>
          <a:bodyPr wrap="square" lIns="0" tIns="0" rIns="0" bIns="0">
            <a:spAutoFit/>
          </a:bodyPr>
          <a:lstStyle/>
          <a:p>
            <a:pPr rtl="0">
              <a:defRPr sz="1400" b="1" i="0" u="none" strike="noStrike" kern="1200" spc="0" baseline="0">
                <a:solidFill>
                  <a:prstClr val="white">
                    <a:lumMod val="85000"/>
                  </a:prstClr>
                </a:solidFill>
                <a:latin typeface="+mn-lt"/>
                <a:ea typeface="+mn-ea"/>
                <a:cs typeface="+mn-cs"/>
              </a:defRPr>
            </a:pPr>
            <a:r>
              <a:rPr lang="en-US" sz="2800">
                <a:gradFill>
                  <a:gsLst>
                    <a:gs pos="0">
                      <a:srgbClr val="00FFB9"/>
                    </a:gs>
                    <a:gs pos="100000">
                      <a:srgbClr val="00E6DC"/>
                    </a:gs>
                  </a:gsLst>
                  <a:lin ang="0" scaled="0"/>
                </a:gradFill>
              </a:rPr>
              <a:t>Lithium</a:t>
            </a:r>
          </a:p>
        </p:txBody>
      </p:sp>
      <p:sp>
        <p:nvSpPr>
          <p:cNvPr id="102" name="Textfeld 101">
            <a:extLst>
              <a:ext uri="{FF2B5EF4-FFF2-40B4-BE49-F238E27FC236}">
                <a16:creationId xmlns:a16="http://schemas.microsoft.com/office/drawing/2014/main" id="{C6EDD24E-5851-19B0-289E-DB7117315CCD}"/>
              </a:ext>
            </a:extLst>
          </p:cNvPr>
          <p:cNvSpPr txBox="1">
            <a:spLocks/>
          </p:cNvSpPr>
          <p:nvPr/>
        </p:nvSpPr>
        <p:spPr>
          <a:xfrm>
            <a:off x="8986724" y="1673713"/>
            <a:ext cx="1744662" cy="430887"/>
          </a:xfrm>
          <a:prstGeom prst="rect">
            <a:avLst/>
          </a:prstGeom>
          <a:noFill/>
        </p:spPr>
        <p:txBody>
          <a:bodyPr wrap="square" lIns="0" tIns="0" rIns="0" bIns="0">
            <a:spAutoFit/>
          </a:bodyPr>
          <a:lstStyle/>
          <a:p>
            <a:pPr rtl="0">
              <a:defRPr sz="1400" b="1" i="0" u="none" strike="noStrike" kern="1200" spc="0" baseline="0">
                <a:solidFill>
                  <a:prstClr val="white">
                    <a:lumMod val="85000"/>
                  </a:prstClr>
                </a:solidFill>
                <a:latin typeface="+mn-lt"/>
                <a:ea typeface="+mn-ea"/>
                <a:cs typeface="+mn-cs"/>
              </a:defRPr>
            </a:pPr>
            <a:r>
              <a:rPr lang="en-US" sz="2800">
                <a:gradFill>
                  <a:gsLst>
                    <a:gs pos="0">
                      <a:srgbClr val="00FFB9"/>
                    </a:gs>
                    <a:gs pos="100000">
                      <a:srgbClr val="00E6DC"/>
                    </a:gs>
                  </a:gsLst>
                  <a:lin ang="0" scaled="0"/>
                </a:gradFill>
              </a:rPr>
              <a:t>Cobalt</a:t>
            </a:r>
          </a:p>
        </p:txBody>
      </p:sp>
      <p:sp>
        <p:nvSpPr>
          <p:cNvPr id="104" name="Rechteck 103">
            <a:extLst>
              <a:ext uri="{FF2B5EF4-FFF2-40B4-BE49-F238E27FC236}">
                <a16:creationId xmlns:a16="http://schemas.microsoft.com/office/drawing/2014/main" id="{F67D7D9E-5830-8C81-D65C-9A766C8F4757}"/>
              </a:ext>
            </a:extLst>
          </p:cNvPr>
          <p:cNvSpPr>
            <a:spLocks/>
          </p:cNvSpPr>
          <p:nvPr/>
        </p:nvSpPr>
        <p:spPr>
          <a:xfrm>
            <a:off x="1041395" y="5991993"/>
            <a:ext cx="95250" cy="95250"/>
          </a:xfrm>
          <a:prstGeom prst="rect">
            <a:avLst/>
          </a:prstGeom>
          <a:solidFill>
            <a:srgbClr val="00646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5" name="Rechteck 104">
            <a:extLst>
              <a:ext uri="{FF2B5EF4-FFF2-40B4-BE49-F238E27FC236}">
                <a16:creationId xmlns:a16="http://schemas.microsoft.com/office/drawing/2014/main" id="{B2C8A396-78CD-CF05-6227-3B748EAD978A}"/>
              </a:ext>
            </a:extLst>
          </p:cNvPr>
          <p:cNvSpPr>
            <a:spLocks/>
          </p:cNvSpPr>
          <p:nvPr/>
        </p:nvSpPr>
        <p:spPr>
          <a:xfrm>
            <a:off x="2176932" y="5991993"/>
            <a:ext cx="95250" cy="95250"/>
          </a:xfrm>
          <a:prstGeom prst="rect">
            <a:avLst/>
          </a:prstGeom>
          <a:solidFill>
            <a:srgbClr val="0087B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a:p>
        </p:txBody>
      </p:sp>
      <p:sp>
        <p:nvSpPr>
          <p:cNvPr id="106" name="TextBox 18">
            <a:extLst>
              <a:ext uri="{FF2B5EF4-FFF2-40B4-BE49-F238E27FC236}">
                <a16:creationId xmlns:a16="http://schemas.microsoft.com/office/drawing/2014/main" id="{E8E556E9-0475-FC02-EE44-3C3B149FDB6E}"/>
              </a:ext>
            </a:extLst>
          </p:cNvPr>
          <p:cNvSpPr txBox="1">
            <a:spLocks/>
          </p:cNvSpPr>
          <p:nvPr/>
        </p:nvSpPr>
        <p:spPr>
          <a:xfrm>
            <a:off x="1179825" y="5973169"/>
            <a:ext cx="985525"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Under construction</a:t>
            </a:r>
          </a:p>
          <a:p>
            <a:pPr>
              <a:lnSpc>
                <a:spcPct val="100000"/>
              </a:lnSpc>
            </a:pPr>
            <a:endParaRPr lang="en-US" sz="900">
              <a:solidFill>
                <a:schemeClr val="bg1"/>
              </a:solidFill>
            </a:endParaRPr>
          </a:p>
        </p:txBody>
      </p:sp>
      <p:sp>
        <p:nvSpPr>
          <p:cNvPr id="107" name="TextBox 18">
            <a:extLst>
              <a:ext uri="{FF2B5EF4-FFF2-40B4-BE49-F238E27FC236}">
                <a16:creationId xmlns:a16="http://schemas.microsoft.com/office/drawing/2014/main" id="{8DC0BCC2-C15C-A162-8249-19647EE10E5E}"/>
              </a:ext>
            </a:extLst>
          </p:cNvPr>
          <p:cNvSpPr txBox="1">
            <a:spLocks/>
          </p:cNvSpPr>
          <p:nvPr/>
        </p:nvSpPr>
        <p:spPr>
          <a:xfrm>
            <a:off x="2315839" y="5969374"/>
            <a:ext cx="527462"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Operating</a:t>
            </a:r>
          </a:p>
        </p:txBody>
      </p:sp>
      <p:sp>
        <p:nvSpPr>
          <p:cNvPr id="108" name="TextBox 18">
            <a:extLst>
              <a:ext uri="{FF2B5EF4-FFF2-40B4-BE49-F238E27FC236}">
                <a16:creationId xmlns:a16="http://schemas.microsoft.com/office/drawing/2014/main" id="{92BC5C23-0483-999F-4E82-AC76BBC512C0}"/>
              </a:ext>
            </a:extLst>
          </p:cNvPr>
          <p:cNvSpPr txBox="1">
            <a:spLocks/>
          </p:cNvSpPr>
          <p:nvPr/>
        </p:nvSpPr>
        <p:spPr>
          <a:xfrm>
            <a:off x="411636" y="5973169"/>
            <a:ext cx="614683"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Production:</a:t>
            </a:r>
          </a:p>
          <a:p>
            <a:pPr>
              <a:lnSpc>
                <a:spcPct val="100000"/>
              </a:lnSpc>
            </a:pPr>
            <a:endParaRPr lang="en-US" sz="900">
              <a:solidFill>
                <a:schemeClr val="bg1"/>
              </a:solidFill>
            </a:endParaRPr>
          </a:p>
        </p:txBody>
      </p:sp>
      <p:grpSp>
        <p:nvGrpSpPr>
          <p:cNvPr id="27" name="Gruppieren 26">
            <a:extLst>
              <a:ext uri="{FF2B5EF4-FFF2-40B4-BE49-F238E27FC236}">
                <a16:creationId xmlns:a16="http://schemas.microsoft.com/office/drawing/2014/main" id="{B38A01C5-AB18-4778-9A20-A6431951F788}"/>
              </a:ext>
            </a:extLst>
          </p:cNvPr>
          <p:cNvGrpSpPr>
            <a:grpSpLocks/>
          </p:cNvGrpSpPr>
          <p:nvPr/>
        </p:nvGrpSpPr>
        <p:grpSpPr>
          <a:xfrm>
            <a:off x="2984926" y="5967307"/>
            <a:ext cx="5264854" cy="144623"/>
            <a:chOff x="411161" y="6132180"/>
            <a:chExt cx="5264854" cy="144623"/>
          </a:xfrm>
        </p:grpSpPr>
        <p:sp>
          <p:nvSpPr>
            <p:cNvPr id="110" name="TextBox 18">
              <a:extLst>
                <a:ext uri="{FF2B5EF4-FFF2-40B4-BE49-F238E27FC236}">
                  <a16:creationId xmlns:a16="http://schemas.microsoft.com/office/drawing/2014/main" id="{29C57323-21BE-20F8-36E4-E69A5E888864}"/>
                </a:ext>
              </a:extLst>
            </p:cNvPr>
            <p:cNvSpPr txBox="1">
              <a:spLocks/>
            </p:cNvSpPr>
            <p:nvPr/>
          </p:nvSpPr>
          <p:spPr>
            <a:xfrm>
              <a:off x="3451458" y="6136315"/>
              <a:ext cx="2224557"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Sustainable Development Scenario (SDS)</a:t>
              </a:r>
            </a:p>
          </p:txBody>
        </p:sp>
        <p:sp>
          <p:nvSpPr>
            <p:cNvPr id="112" name="TextBox 18">
              <a:extLst>
                <a:ext uri="{FF2B5EF4-FFF2-40B4-BE49-F238E27FC236}">
                  <a16:creationId xmlns:a16="http://schemas.microsoft.com/office/drawing/2014/main" id="{8491CE83-EF90-4716-65A4-4B7F50B8C856}"/>
                </a:ext>
              </a:extLst>
            </p:cNvPr>
            <p:cNvSpPr txBox="1">
              <a:spLocks/>
            </p:cNvSpPr>
            <p:nvPr/>
          </p:nvSpPr>
          <p:spPr>
            <a:xfrm>
              <a:off x="1471532" y="6136315"/>
              <a:ext cx="1824355" cy="14048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Stated Policies Scenario (STEPS)</a:t>
              </a:r>
            </a:p>
          </p:txBody>
        </p:sp>
        <p:sp>
          <p:nvSpPr>
            <p:cNvPr id="113" name="TextBox 18">
              <a:extLst>
                <a:ext uri="{FF2B5EF4-FFF2-40B4-BE49-F238E27FC236}">
                  <a16:creationId xmlns:a16="http://schemas.microsoft.com/office/drawing/2014/main" id="{51990670-56F5-2F13-8FD5-ECE5EC5302E8}"/>
                </a:ext>
              </a:extLst>
            </p:cNvPr>
            <p:cNvSpPr txBox="1">
              <a:spLocks/>
            </p:cNvSpPr>
            <p:nvPr/>
          </p:nvSpPr>
          <p:spPr>
            <a:xfrm>
              <a:off x="411161" y="6132180"/>
              <a:ext cx="888119" cy="132898"/>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900">
                  <a:solidFill>
                    <a:schemeClr val="bg1"/>
                  </a:solidFill>
                </a:rPr>
                <a:t>Primary demand:</a:t>
              </a:r>
            </a:p>
          </p:txBody>
        </p:sp>
        <p:cxnSp>
          <p:nvCxnSpPr>
            <p:cNvPr id="24" name="Gerader Verbinder 23">
              <a:extLst>
                <a:ext uri="{FF2B5EF4-FFF2-40B4-BE49-F238E27FC236}">
                  <a16:creationId xmlns:a16="http://schemas.microsoft.com/office/drawing/2014/main" id="{7DDB92C0-6781-4BC5-AC63-B06FC500A70B}"/>
                </a:ext>
              </a:extLst>
            </p:cNvPr>
            <p:cNvCxnSpPr/>
            <p:nvPr/>
          </p:nvCxnSpPr>
          <p:spPr>
            <a:xfrm>
              <a:off x="1343025" y="6212681"/>
              <a:ext cx="102394" cy="0"/>
            </a:xfrm>
            <a:prstGeom prst="line">
              <a:avLst/>
            </a:prstGeom>
            <a:ln w="19050">
              <a:solidFill>
                <a:srgbClr val="FFD732"/>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5FB81B14-C37B-4317-B44C-A6DD920C70BE}"/>
                </a:ext>
              </a:extLst>
            </p:cNvPr>
            <p:cNvCxnSpPr/>
            <p:nvPr/>
          </p:nvCxnSpPr>
          <p:spPr>
            <a:xfrm>
              <a:off x="3317319" y="6212681"/>
              <a:ext cx="102394" cy="0"/>
            </a:xfrm>
            <a:prstGeom prst="line">
              <a:avLst/>
            </a:prstGeom>
            <a:ln w="19050">
              <a:solidFill>
                <a:schemeClr val="accent2"/>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
        <p:nvSpPr>
          <p:cNvPr id="88" name="TextBox 18">
            <a:extLst>
              <a:ext uri="{FF2B5EF4-FFF2-40B4-BE49-F238E27FC236}">
                <a16:creationId xmlns:a16="http://schemas.microsoft.com/office/drawing/2014/main" id="{A1E2AC0B-2773-46FD-8A3B-609692B0B0E0}"/>
              </a:ext>
            </a:extLst>
          </p:cNvPr>
          <p:cNvSpPr txBox="1">
            <a:spLocks/>
          </p:cNvSpPr>
          <p:nvPr/>
        </p:nvSpPr>
        <p:spPr>
          <a:xfrm>
            <a:off x="411636" y="6143690"/>
            <a:ext cx="10319750" cy="140488"/>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a:lstStyle>
          <a:p>
            <a:r>
              <a:rPr lang="en-US" sz="900" b="1" dirty="0">
                <a:solidFill>
                  <a:schemeClr val="bg1"/>
                </a:solidFill>
                <a:ea typeface="ＭＳ Ｐゴシック" charset="-128"/>
              </a:rPr>
              <a:t>Source: </a:t>
            </a:r>
            <a:r>
              <a:rPr lang="en-US" sz="900" dirty="0">
                <a:solidFill>
                  <a:schemeClr val="bg1"/>
                </a:solidFill>
                <a:ea typeface="ＭＳ Ｐゴシック" charset="-128"/>
              </a:rPr>
              <a:t>IEA </a:t>
            </a:r>
            <a:r>
              <a:rPr lang="en-US" sz="900" dirty="0">
                <a:solidFill>
                  <a:schemeClr val="bg1"/>
                </a:solidFill>
                <a:ea typeface="ＭＳ Ｐゴシック" charset="-128"/>
                <a:hlinkClick r:id="rId6"/>
              </a:rPr>
              <a:t>The Role of Critical Minerals in Clean Energy Transitions </a:t>
            </a:r>
            <a:r>
              <a:rPr lang="en-US" sz="900" dirty="0">
                <a:solidFill>
                  <a:schemeClr val="bg1"/>
                </a:solidFill>
                <a:ea typeface="ＭＳ Ｐゴシック" charset="-128"/>
              </a:rPr>
              <a:t>(2021) page 119 | </a:t>
            </a:r>
            <a:r>
              <a:rPr lang="de-DE" sz="900" dirty="0">
                <a:hlinkClick r:id="rId6"/>
              </a:rPr>
              <a:t>https://www.iea.org/reports/the-role-of-critical-minerals-in-clean-energy-transitions</a:t>
            </a:r>
            <a:endParaRPr lang="de-DE" sz="900" dirty="0"/>
          </a:p>
        </p:txBody>
      </p:sp>
    </p:spTree>
    <p:extLst>
      <p:ext uri="{BB962C8B-B14F-4D97-AF65-F5344CB8AC3E}">
        <p14:creationId xmlns:p14="http://schemas.microsoft.com/office/powerpoint/2010/main" val="1648114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wD///////8DAAAAAwD///////////////////////////////////////////////////////////////////////////////////////////////////////////////////////////////////////////////////////////////////////////////////////////////////////////////////////////////////////////////////////////////////////////////////////////////////////////////////////////////////////////////////////////////////////////////////////////////////////////////////////////////////////////////////////////////////////////////////////////////8BACAA////////////////AAAO////////AwAAAAIA////////////////////////////////////////////////////////////////////////////////////////////////////////////////////////////////////////////////////////////////////////////////////////////////////////////////////////////////////////////////////////////////////////////////////////////////////////////////////////////////////////////////////////////////////////////////////////////////////////////////////////////////////////////////////////////////////////////////////////////////////////////////////////AgABAP///////wQAAAACABAAC6yiaufEJp9BiQ/OYVoOty8FAAAAAAADAAAAAwADAAAAAQADAAIA////////BAAAAAMAEAAL/r0b3oVlzk2H78AX8tEKxAUAAAABAAMAAAAAAAMAAAACAA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BAAAAAMA////////BAAAAAMA////////////////////////////////////////////////////////////////////////////////////////////////////////////////////////////////////////////////////////////////////////////////////////////////////////////////////////////////////////////////////////////////////////////////////////////////////////////////////////////////////////////////////////////////////////////////////////////////////////////////////////////////////////////////AQAgAf///////////////wAADv///////wQAAAACAP///////////////////////////////////////////////////////////////////////////////////////////////////////////////////////////////////////////////////////////////////////////////////////////////////////////////////////////////////////////////////////////////////////////////////////////////////////////////////////////////////////////////////////////////////////////////////////////////////////////////////////////////////////////////////////////////////////////////////////////////////////////////////////wIAAQEDAAAAAgD///////8aAAZMaW5rZWRTaGFwZXNEYXRhUHJvcGVydHlfMAUAAAAAAAQAAAADAAQAAAABAAMABQEDAAAAAwD///////8lAAZMaW5rZWRTaGFwZVByZXNlbnRhdGlvblNldHRpbmdzRGF0YV8wBQAAAAEABAAAAAAABAAAAAIABAAAAAA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KyiaufEJp9BiQ/OYVoOty8DRGF0YQAbAAAABExpbmtlZFNoYXBlRGF0YQAFAAAAAAACTmFtZQAZAAAATGlua2VkU2hhcGVzRGF0YVByb3BlcnR5ABBWZXJzaW9uAAAAAAAJTGFzdFdyaXRlALwkhEeDAQAAAAEA/////50AnQAAAAVfaWQAEAAAAAT+vRvehWXOTYfvwBfy0QrEA0RhdGEAKgAAAAhQcmVzZW50YXRpb25TY2FubmVkRm9yTGlua2VkU2hhcGVzAAEAAk5hbWUAJAAAAExpbmtlZFNoYXBlUHJlc2VudGF0aW9uU2V0dGluZ3NEYXRhABBWZXJzaW9uAAAAAAAJTGFzdFdyaXRlAAYlhEeD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TEMPLATESTYLE" val="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TEMPLATESTYLE" val="3"/>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TEMPLATESTYLE" val="3"/>
</p:tagLst>
</file>

<file path=ppt/tags/tag55.xml><?xml version="1.0" encoding="utf-8"?>
<p:tagLst xmlns:a="http://schemas.openxmlformats.org/drawingml/2006/main" xmlns:r="http://schemas.openxmlformats.org/officeDocument/2006/relationships" xmlns:p="http://schemas.openxmlformats.org/presentationml/2006/main">
  <p:tag name="EE4P_TEMPLATESTYLE" val="3"/>
</p:tagLst>
</file>

<file path=ppt/tags/tag56.xml><?xml version="1.0" encoding="utf-8"?>
<p:tagLst xmlns:a="http://schemas.openxmlformats.org/drawingml/2006/main" xmlns:r="http://schemas.openxmlformats.org/officeDocument/2006/relationships" xmlns:p="http://schemas.openxmlformats.org/presentationml/2006/main">
  <p:tag name="EE4P_TEMPLATESTYLE" val="3"/>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TEMPLATESTYLE" val="3"/>
</p:tagLst>
</file>

<file path=ppt/tags/tag62.xml><?xml version="1.0" encoding="utf-8"?>
<p:tagLst xmlns:a="http://schemas.openxmlformats.org/drawingml/2006/main" xmlns:r="http://schemas.openxmlformats.org/officeDocument/2006/relationships" xmlns:p="http://schemas.openxmlformats.org/presentationml/2006/main">
  <p:tag name="EE4P_TEMPLATESTYLE" val="3"/>
</p:tagLst>
</file>

<file path=ppt/tags/tag63.xml><?xml version="1.0" encoding="utf-8"?>
<p:tagLst xmlns:a="http://schemas.openxmlformats.org/drawingml/2006/main" xmlns:r="http://schemas.openxmlformats.org/officeDocument/2006/relationships" xmlns:p="http://schemas.openxmlformats.org/presentationml/2006/main">
  <p:tag name="EE4P_TEMPLATESTYLE" val="3"/>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S8J8juFquUW_9GtAvUUA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8J8juFquUW_9GtAvUUA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TEMPLATESTYLE" val="3"/>
</p:tagLst>
</file>

<file path=ppt/tags/tag72.xml><?xml version="1.0" encoding="utf-8"?>
<p:tagLst xmlns:a="http://schemas.openxmlformats.org/drawingml/2006/main" xmlns:r="http://schemas.openxmlformats.org/officeDocument/2006/relationships" xmlns:p="http://schemas.openxmlformats.org/presentationml/2006/main">
  <p:tag name="EE4P_TEMPLATESTYLE" val="3"/>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MIO_GUID" val="7daeffe3-58bf-4d45-a57f-01395e336396"/>
</p:tagLst>
</file>

<file path=ppt/tags/tag75.xml><?xml version="1.0" encoding="utf-8"?>
<p:tagLst xmlns:a="http://schemas.openxmlformats.org/drawingml/2006/main" xmlns:r="http://schemas.openxmlformats.org/officeDocument/2006/relationships" xmlns:p="http://schemas.openxmlformats.org/presentationml/2006/main">
  <p:tag name="MIO_GUID" val="b51390f8-1c47-4c2b-aba1-d6ee6cef2315"/>
</p:tagLst>
</file>

<file path=ppt/tags/tag76.xml><?xml version="1.0" encoding="utf-8"?>
<p:tagLst xmlns:a="http://schemas.openxmlformats.org/drawingml/2006/main" xmlns:r="http://schemas.openxmlformats.org/officeDocument/2006/relationships" xmlns:p="http://schemas.openxmlformats.org/presentationml/2006/main">
  <p:tag name="MIO_GUID" val="56dfdf92-8b5c-4fed-bb38-ebac4deb1376"/>
</p:tagLst>
</file>

<file path=ppt/tags/tag77.xml><?xml version="1.0" encoding="utf-8"?>
<p:tagLst xmlns:a="http://schemas.openxmlformats.org/drawingml/2006/main" xmlns:r="http://schemas.openxmlformats.org/officeDocument/2006/relationships" xmlns:p="http://schemas.openxmlformats.org/presentationml/2006/main">
  <p:tag name="MIO_GUID" val="1431c04e-49df-4f43-9d9c-ea3706f9e1a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sie-ppt-O365-16x9-standard-eng-v3-2" id="{D4516565-4DA8-4EB8-9703-094809D5670E}" vid="{C8265B3B-3EFF-4B3B-913A-4BD5B19806B4}"/>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Siemens Petrol | 0 153 153">
      <a:srgbClr val="009999"/>
    </a:custClr>
    <a:custClr name="No color">
      <a:srgbClr val="FFFFFF"/>
    </a:custClr>
    <a:custClr name="Dark Blue | 0 85 124">
      <a:srgbClr val="00557C"/>
    </a:custClr>
    <a:custClr name="Dark Green | 0 100 110">
      <a:srgbClr val="00646E"/>
    </a:custClr>
    <a:custClr name="Dark Sand | 170 170 150">
      <a:srgbClr val="AAAA96"/>
    </a:custClr>
    <a:custClr name="Deep Blue | 0 0 40">
      <a:srgbClr val="000028"/>
    </a:custClr>
    <a:custClr name="Deep Blue 40% (Gray) | 153 153 169">
      <a:srgbClr val="9999A9"/>
    </a:custClr>
    <a:custClr name="Dark Purple | 80 0 120">
      <a:srgbClr val="500078"/>
    </a:custClr>
    <a:custClr name="Dark Orange | 236 102 2">
      <a:srgbClr val="EC6602"/>
    </a:custClr>
    <a:custClr name="Red | 239 1 55">
      <a:srgbClr val="EF0137"/>
    </a:custClr>
    <a:custClr name="Deep Blue | 0 0 40">
      <a:srgbClr val="000028"/>
    </a:custClr>
    <a:custClr name="No color">
      <a:srgbClr val="FFFFFF"/>
    </a:custClr>
    <a:custClr name="Blue | 0 135 190">
      <a:srgbClr val="0087BE"/>
    </a:custClr>
    <a:custClr name="Green | 0 175 142">
      <a:srgbClr val="00AF8E"/>
    </a:custClr>
    <a:custClr name="Soft Sand | 197 197 184">
      <a:srgbClr val="C5C5B8"/>
    </a:custClr>
    <a:custClr name="Deep Blue 80% | 51 51 83">
      <a:srgbClr val="333353"/>
    </a:custClr>
    <a:custClr name="Deep Blue 20% (Soft Gray) | 204 204 212">
      <a:srgbClr val="CCCCD4"/>
    </a:custClr>
    <a:custClr name="Purple | 170 50 190">
      <a:srgbClr val="AA32BE"/>
    </a:custClr>
    <a:custClr name="Orange | 255 144 0">
      <a:srgbClr val="FF9000"/>
    </a:custClr>
    <a:custClr name="Soft Red | 254 131 137">
      <a:srgbClr val="FE8389"/>
    </a:custClr>
    <a:custClr name="Light Sand | 243 243 240">
      <a:srgbClr val="F3F3F0"/>
    </a:custClr>
    <a:custClr name="No color">
      <a:srgbClr val="FFFFFF"/>
    </a:custClr>
    <a:custClr name="Soft Blue | 0 190 220">
      <a:srgbClr val="00BEDC"/>
    </a:custClr>
    <a:custClr name="Soft Green | 0 215 160">
      <a:srgbClr val="00D7A0"/>
    </a:custClr>
    <a:custClr name="Bright Sand | 223 223 217">
      <a:srgbClr val="DFDFD9"/>
    </a:custClr>
    <a:custClr name="Deep Blue 60% (Dark Gray) | 102 102 126">
      <a:srgbClr val="66667E"/>
    </a:custClr>
    <a:custClr name="Deep Blue 10% (Light Gray) | 229 229 233">
      <a:srgbClr val="E5E5E9"/>
    </a:custClr>
    <a:custClr name="Yellow | 255 215 50">
      <a:srgbClr val="FFD732"/>
    </a:custClr>
    <a:custClr name="Bold Green">
      <a:srgbClr val="00FFB9"/>
    </a:custClr>
    <a:custClr name="Bold Blue">
      <a:srgbClr val="00E6DC"/>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77b9584-e4d4-42fb-b0d9-8fbb3927c52e" xsi:nil="true"/>
    <lcf76f155ced4ddcb4097134ff3c332f xmlns="73925e7f-b784-4e4f-9b74-85ebbce62d0c">
      <Terms xmlns="http://schemas.microsoft.com/office/infopath/2007/PartnerControls"/>
    </lcf76f155ced4ddcb4097134ff3c332f>
    <SharedWithUsers xmlns="b77b9584-e4d4-42fb-b0d9-8fbb3927c52e">
      <UserInfo>
        <DisplayName>Gruenjes, Hasso Georg (SMO RI EL COC EH)</DisplayName>
        <AccountId>12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B471FD50C72B4AB7BFDC45258044FC" ma:contentTypeVersion="12" ma:contentTypeDescription="Create a new document." ma:contentTypeScope="" ma:versionID="999679c7c4acbde9bf8db94f2eea9b43">
  <xsd:schema xmlns:xsd="http://www.w3.org/2001/XMLSchema" xmlns:xs="http://www.w3.org/2001/XMLSchema" xmlns:p="http://schemas.microsoft.com/office/2006/metadata/properties" xmlns:ns2="73925e7f-b784-4e4f-9b74-85ebbce62d0c" xmlns:ns3="b77b9584-e4d4-42fb-b0d9-8fbb3927c52e" targetNamespace="http://schemas.microsoft.com/office/2006/metadata/properties" ma:root="true" ma:fieldsID="6cd49ea16552fe7d6d5473bc2826f9e6" ns2:_="" ns3:_="">
    <xsd:import namespace="73925e7f-b784-4e4f-9b74-85ebbce62d0c"/>
    <xsd:import namespace="b77b9584-e4d4-42fb-b0d9-8fbb3927c52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925e7f-b784-4e4f-9b74-85ebbce62d0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63edab7-d5f1-4c02-989a-0e8ed7c6c383"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77b9584-e4d4-42fb-b0d9-8fbb3927c52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0d881b9-7868-456b-8ec9-60d8d40ab05b}" ma:internalName="TaxCatchAll" ma:showField="CatchAllData" ma:web="b77b9584-e4d4-42fb-b0d9-8fbb3927c52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A98644-35BB-4CB0-8770-1268748C8FED}">
  <ds:schemaRefs>
    <ds:schemaRef ds:uri="http://purl.org/dc/elements/1.1/"/>
    <ds:schemaRef ds:uri="http://schemas.microsoft.com/office/2006/metadata/properties"/>
    <ds:schemaRef ds:uri="b77b9584-e4d4-42fb-b0d9-8fbb3927c52e"/>
    <ds:schemaRef ds:uri="http://purl.org/dc/terms/"/>
    <ds:schemaRef ds:uri="http://schemas.openxmlformats.org/package/2006/metadata/core-properties"/>
    <ds:schemaRef ds:uri="http://schemas.microsoft.com/office/2006/documentManagement/types"/>
    <ds:schemaRef ds:uri="73925e7f-b784-4e4f-9b74-85ebbce62d0c"/>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130E679-1667-454B-8E8E-65E98E27EA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925e7f-b784-4e4f-9b74-85ebbce62d0c"/>
    <ds:schemaRef ds:uri="b77b9584-e4d4-42fb-b0d9-8fbb3927c52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0D2DF9A-F8AB-4F3A-AFFF-1A91B2EF5F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ntent</Template>
  <TotalTime>0</TotalTime>
  <Words>1845</Words>
  <Application>Microsoft Office PowerPoint</Application>
  <PresentationFormat>Breitbild</PresentationFormat>
  <Paragraphs>293</Paragraphs>
  <Slides>26</Slides>
  <Notes>19</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26</vt:i4>
      </vt:variant>
    </vt:vector>
  </HeadingPairs>
  <TitlesOfParts>
    <vt:vector size="30" baseType="lpstr">
      <vt:lpstr>Arial</vt:lpstr>
      <vt:lpstr>Arial-BoldMT</vt:lpstr>
      <vt:lpstr>Siemens 2020</vt:lpstr>
      <vt:lpstr>think-cell Slide</vt:lpstr>
      <vt:lpstr>Dynamic Charging Reaching goals in time</vt:lpstr>
      <vt:lpstr>Assessing technologies for climate friendly trucking involves several aspects</vt:lpstr>
      <vt:lpstr>#operationalrange</vt:lpstr>
      <vt:lpstr>Range is especially important for long-haul operations </vt:lpstr>
      <vt:lpstr>#timetomarket</vt:lpstr>
      <vt:lpstr>Reaching political goals requires around 70% of truck sales in 2030 being zero emission</vt:lpstr>
      <vt:lpstr>Overhead contact lines offers the most mature technical solution for long-haul heavy road freight</vt:lpstr>
      <vt:lpstr>#scalability</vt:lpstr>
      <vt:lpstr>Ramping up supply chains for catenary solution looks far less challenging than the alternatives</vt:lpstr>
      <vt:lpstr>IEA: China dominates the entire downstream EV battery supply chain</vt:lpstr>
      <vt:lpstr>Role out of technology  Based on cooperation across industries and development of open standards </vt:lpstr>
      <vt:lpstr>International interest in dynamic charging is growing, e.g., in Europe Enabling zero emission trucking on core motorways, example countries</vt:lpstr>
      <vt:lpstr>#energyefficiency</vt:lpstr>
      <vt:lpstr>Direct electricity offers the most efficient way to use renewable energy</vt:lpstr>
      <vt:lpstr>#costofownership</vt:lpstr>
      <vt:lpstr>Cost of energy is by far the most important factor in the total cost picture</vt:lpstr>
      <vt:lpstr>NPM also sees electric solutions as near cost parity with diesel,  far ahead of indirect alternatives in 2030</vt:lpstr>
      <vt:lpstr>#flexibility</vt:lpstr>
      <vt:lpstr>Decarbonization of heavy-duty trucks</vt:lpstr>
      <vt:lpstr>Decarbonization of heavy-duty trucks will be possible with dynamic   charging and an intelligent combination of drive train technologies </vt:lpstr>
      <vt:lpstr>#CO2abatementcost</vt:lpstr>
      <vt:lpstr>NPM also sees electric solutions far ahead of indirect alternatives in 2030</vt:lpstr>
      <vt:lpstr>In summary: Dynamic charging is an essential solution for climate protection in heavy road freight transport   It…</vt:lpstr>
      <vt:lpstr>PowerPoint-Präsentation</vt:lpstr>
      <vt:lpstr>Proven in daily trucking operations on German motorways</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chart two-line headline, Arial, 80 pt</dc:title>
  <dc:subject/>
  <dc:creator>Brigitta Huber | i-pointing</dc:creator>
  <cp:keywords>Template</cp:keywords>
  <dc:description>Version 3.2
December 2020</dc:description>
  <cp:lastModifiedBy>Estelle Zink</cp:lastModifiedBy>
  <cp:revision>7</cp:revision>
  <cp:lastPrinted>2022-09-16T18:17:24Z</cp:lastPrinted>
  <dcterms:created xsi:type="dcterms:W3CDTF">2021-01-28T07:02:31Z</dcterms:created>
  <dcterms:modified xsi:type="dcterms:W3CDTF">2022-11-11T10:38: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59b6cd5-d141-4a33-8bf1-0ca04484304f_Enabled">
    <vt:lpwstr>true</vt:lpwstr>
  </property>
  <property fmtid="{D5CDD505-2E9C-101B-9397-08002B2CF9AE}" pid="3" name="MSIP_Label_a59b6cd5-d141-4a33-8bf1-0ca04484304f_SetDate">
    <vt:lpwstr>2021-02-12T20:31:55Z</vt:lpwstr>
  </property>
  <property fmtid="{D5CDD505-2E9C-101B-9397-08002B2CF9AE}" pid="4" name="MSIP_Label_a59b6cd5-d141-4a33-8bf1-0ca04484304f_Method">
    <vt:lpwstr>Standard</vt:lpwstr>
  </property>
  <property fmtid="{D5CDD505-2E9C-101B-9397-08002B2CF9AE}" pid="5" name="MSIP_Label_a59b6cd5-d141-4a33-8bf1-0ca04484304f_Name">
    <vt:lpwstr>restricted-default</vt:lpwstr>
  </property>
  <property fmtid="{D5CDD505-2E9C-101B-9397-08002B2CF9AE}" pid="6" name="MSIP_Label_a59b6cd5-d141-4a33-8bf1-0ca04484304f_SiteId">
    <vt:lpwstr>38ae3bcd-9579-4fd4-adda-b42e1495d55a</vt:lpwstr>
  </property>
  <property fmtid="{D5CDD505-2E9C-101B-9397-08002B2CF9AE}" pid="7" name="MSIP_Label_a59b6cd5-d141-4a33-8bf1-0ca04484304f_ActionId">
    <vt:lpwstr>a2ff0a99-c953-4731-9b91-4f26937c5922</vt:lpwstr>
  </property>
  <property fmtid="{D5CDD505-2E9C-101B-9397-08002B2CF9AE}" pid="8" name="MSIP_Label_a59b6cd5-d141-4a33-8bf1-0ca04484304f_ContentBits">
    <vt:lpwstr>0</vt:lpwstr>
  </property>
  <property fmtid="{D5CDD505-2E9C-101B-9397-08002B2CF9AE}" pid="9" name="Document_Confidentiality">
    <vt:lpwstr>Restricted</vt:lpwstr>
  </property>
  <property fmtid="{D5CDD505-2E9C-101B-9397-08002B2CF9AE}" pid="10" name="ContentTypeId">
    <vt:lpwstr>0x01010081B471FD50C72B4AB7BFDC45258044FC</vt:lpwstr>
  </property>
  <property fmtid="{D5CDD505-2E9C-101B-9397-08002B2CF9AE}" pid="11" name="MediaServiceImageTags">
    <vt:lpwstr/>
  </property>
</Properties>
</file>